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5"/>
  </p:notesMasterIdLst>
  <p:sldIdLst>
    <p:sldId id="290" r:id="rId5"/>
    <p:sldId id="291" r:id="rId6"/>
    <p:sldId id="292" r:id="rId7"/>
    <p:sldId id="293" r:id="rId8"/>
    <p:sldId id="294" r:id="rId9"/>
    <p:sldId id="295" r:id="rId10"/>
    <p:sldId id="296" r:id="rId11"/>
    <p:sldId id="298" r:id="rId12"/>
    <p:sldId id="299" r:id="rId13"/>
    <p:sldId id="289" r:id="rId14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290"/>
            <p14:sldId id="291"/>
            <p14:sldId id="292"/>
            <p14:sldId id="293"/>
            <p14:sldId id="294"/>
            <p14:sldId id="295"/>
            <p14:sldId id="296"/>
            <p14:sldId id="298"/>
            <p14:sldId id="299"/>
            <p14:sldId id="28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7CB1"/>
    <a:srgbClr val="FDE9F2"/>
    <a:srgbClr val="FACEE2"/>
    <a:srgbClr val="FFD55D"/>
    <a:srgbClr val="54C6EE"/>
    <a:srgbClr val="A9A9D5"/>
    <a:srgbClr val="EC008C"/>
    <a:srgbClr val="FFDD7E"/>
    <a:srgbClr val="B6E7F8"/>
    <a:srgbClr val="89D7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B1FEAE-4DFC-4780-9121-5C9A918FDF93}" v="3398" dt="2022-03-21T15:54:23.8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128" d="100"/>
          <a:sy n="128" d="100"/>
        </p:scale>
        <p:origin x="25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9EB1FEAE-4DFC-4780-9121-5C9A918FDF93}"/>
    <pc:docChg chg="undo custSel addSld delSld modSld sldOrd modSection">
      <pc:chgData name="Helena Laasjärvi" userId="147922e0-9e4e-413c-924b-93f8f61c2127" providerId="ADAL" clId="{9EB1FEAE-4DFC-4780-9121-5C9A918FDF93}" dt="2022-03-21T15:54:21.890" v="773" actId="47"/>
      <pc:docMkLst>
        <pc:docMk/>
      </pc:docMkLst>
      <pc:sldChg chg="del ord">
        <pc:chgData name="Helena Laasjärvi" userId="147922e0-9e4e-413c-924b-93f8f61c2127" providerId="ADAL" clId="{9EB1FEAE-4DFC-4780-9121-5C9A918FDF93}" dt="2022-03-21T15:54:07.809" v="764" actId="47"/>
        <pc:sldMkLst>
          <pc:docMk/>
          <pc:sldMk cId="48784172" sldId="257"/>
        </pc:sldMkLst>
      </pc:sldChg>
      <pc:sldChg chg="del">
        <pc:chgData name="Helena Laasjärvi" userId="147922e0-9e4e-413c-924b-93f8f61c2127" providerId="ADAL" clId="{9EB1FEAE-4DFC-4780-9121-5C9A918FDF93}" dt="2022-03-21T15:54:21.890" v="773" actId="47"/>
        <pc:sldMkLst>
          <pc:docMk/>
          <pc:sldMk cId="396529617" sldId="262"/>
        </pc:sldMkLst>
      </pc:sldChg>
      <pc:sldChg chg="del">
        <pc:chgData name="Helena Laasjärvi" userId="147922e0-9e4e-413c-924b-93f8f61c2127" providerId="ADAL" clId="{9EB1FEAE-4DFC-4780-9121-5C9A918FDF93}" dt="2022-03-21T15:54:15.259" v="768" actId="47"/>
        <pc:sldMkLst>
          <pc:docMk/>
          <pc:sldMk cId="567366138" sldId="276"/>
        </pc:sldMkLst>
      </pc:sldChg>
      <pc:sldChg chg="del">
        <pc:chgData name="Helena Laasjärvi" userId="147922e0-9e4e-413c-924b-93f8f61c2127" providerId="ADAL" clId="{9EB1FEAE-4DFC-4780-9121-5C9A918FDF93}" dt="2022-03-21T15:54:16.656" v="769" actId="47"/>
        <pc:sldMkLst>
          <pc:docMk/>
          <pc:sldMk cId="1436191983" sldId="277"/>
        </pc:sldMkLst>
      </pc:sldChg>
      <pc:sldChg chg="del">
        <pc:chgData name="Helena Laasjärvi" userId="147922e0-9e4e-413c-924b-93f8f61c2127" providerId="ADAL" clId="{9EB1FEAE-4DFC-4780-9121-5C9A918FDF93}" dt="2022-03-21T15:54:17.949" v="770" actId="47"/>
        <pc:sldMkLst>
          <pc:docMk/>
          <pc:sldMk cId="638171817" sldId="279"/>
        </pc:sldMkLst>
      </pc:sldChg>
      <pc:sldChg chg="del">
        <pc:chgData name="Helena Laasjärvi" userId="147922e0-9e4e-413c-924b-93f8f61c2127" providerId="ADAL" clId="{9EB1FEAE-4DFC-4780-9121-5C9A918FDF93}" dt="2022-03-21T15:54:19.139" v="771" actId="47"/>
        <pc:sldMkLst>
          <pc:docMk/>
          <pc:sldMk cId="1522835767" sldId="280"/>
        </pc:sldMkLst>
      </pc:sldChg>
      <pc:sldChg chg="del">
        <pc:chgData name="Helena Laasjärvi" userId="147922e0-9e4e-413c-924b-93f8f61c2127" providerId="ADAL" clId="{9EB1FEAE-4DFC-4780-9121-5C9A918FDF93}" dt="2022-03-21T15:54:20.522" v="772" actId="47"/>
        <pc:sldMkLst>
          <pc:docMk/>
          <pc:sldMk cId="2750018942" sldId="281"/>
        </pc:sldMkLst>
      </pc:sldChg>
      <pc:sldChg chg="del">
        <pc:chgData name="Helena Laasjärvi" userId="147922e0-9e4e-413c-924b-93f8f61c2127" providerId="ADAL" clId="{9EB1FEAE-4DFC-4780-9121-5C9A918FDF93}" dt="2022-03-21T15:54:10.792" v="765" actId="47"/>
        <pc:sldMkLst>
          <pc:docMk/>
          <pc:sldMk cId="832256426" sldId="283"/>
        </pc:sldMkLst>
      </pc:sldChg>
      <pc:sldChg chg="del">
        <pc:chgData name="Helena Laasjärvi" userId="147922e0-9e4e-413c-924b-93f8f61c2127" providerId="ADAL" clId="{9EB1FEAE-4DFC-4780-9121-5C9A918FDF93}" dt="2022-03-21T15:54:11.998" v="766" actId="47"/>
        <pc:sldMkLst>
          <pc:docMk/>
          <pc:sldMk cId="3030195058" sldId="284"/>
        </pc:sldMkLst>
      </pc:sldChg>
      <pc:sldChg chg="del">
        <pc:chgData name="Helena Laasjärvi" userId="147922e0-9e4e-413c-924b-93f8f61c2127" providerId="ADAL" clId="{9EB1FEAE-4DFC-4780-9121-5C9A918FDF93}" dt="2022-03-21T15:54:13.189" v="767" actId="47"/>
        <pc:sldMkLst>
          <pc:docMk/>
          <pc:sldMk cId="1681479401" sldId="287"/>
        </pc:sldMkLst>
      </pc:sldChg>
      <pc:sldChg chg="del">
        <pc:chgData name="Helena Laasjärvi" userId="147922e0-9e4e-413c-924b-93f8f61c2127" providerId="ADAL" clId="{9EB1FEAE-4DFC-4780-9121-5C9A918FDF93}" dt="2022-03-21T15:54:05.531" v="763" actId="47"/>
        <pc:sldMkLst>
          <pc:docMk/>
          <pc:sldMk cId="715913612" sldId="288"/>
        </pc:sldMkLst>
      </pc:sldChg>
      <pc:sldChg chg="addSp delSp modSp mod">
        <pc:chgData name="Helena Laasjärvi" userId="147922e0-9e4e-413c-924b-93f8f61c2127" providerId="ADAL" clId="{9EB1FEAE-4DFC-4780-9121-5C9A918FDF93}" dt="2022-03-21T15:53:52.743" v="762"/>
        <pc:sldMkLst>
          <pc:docMk/>
          <pc:sldMk cId="752674889" sldId="289"/>
        </pc:sldMkLst>
        <pc:spChg chg="mod ord">
          <ac:chgData name="Helena Laasjärvi" userId="147922e0-9e4e-413c-924b-93f8f61c2127" providerId="ADAL" clId="{9EB1FEAE-4DFC-4780-9121-5C9A918FDF93}" dt="2022-03-21T15:53:52.743" v="760"/>
          <ac:spMkLst>
            <pc:docMk/>
            <pc:sldMk cId="752674889" sldId="289"/>
            <ac:spMk id="2" creationId="{3C758F86-BBBF-48AA-8EC6-ADA1457FD750}"/>
          </ac:spMkLst>
        </pc:spChg>
        <pc:spChg chg="del">
          <ac:chgData name="Helena Laasjärvi" userId="147922e0-9e4e-413c-924b-93f8f61c2127" providerId="ADAL" clId="{9EB1FEAE-4DFC-4780-9121-5C9A918FDF93}" dt="2022-03-21T15:12:18.957" v="335" actId="478"/>
          <ac:spMkLst>
            <pc:docMk/>
            <pc:sldMk cId="752674889" sldId="289"/>
            <ac:spMk id="3" creationId="{6B2418DA-9A5C-4E80-9002-51C434BB0513}"/>
          </ac:spMkLst>
        </pc:spChg>
        <pc:spChg chg="add del mod">
          <ac:chgData name="Helena Laasjärvi" userId="147922e0-9e4e-413c-924b-93f8f61c2127" providerId="ADAL" clId="{9EB1FEAE-4DFC-4780-9121-5C9A918FDF93}" dt="2022-03-21T15:13:24.830" v="340" actId="478"/>
          <ac:spMkLst>
            <pc:docMk/>
            <pc:sldMk cId="752674889" sldId="289"/>
            <ac:spMk id="14" creationId="{499044A3-F325-4457-8B7D-908BDCA6CC6C}"/>
          </ac:spMkLst>
        </pc:spChg>
        <pc:spChg chg="add del mod modVis">
          <ac:chgData name="Helena Laasjärvi" userId="147922e0-9e4e-413c-924b-93f8f61c2127" providerId="ADAL" clId="{9EB1FEAE-4DFC-4780-9121-5C9A918FDF93}" dt="2022-03-21T14:43:54.429" v="79" actId="962"/>
          <ac:spMkLst>
            <pc:docMk/>
            <pc:sldMk cId="752674889" sldId="289"/>
            <ac:spMk id="15" creationId="{493BD526-B7E9-4C5A-9E21-A5C738F19DD4}"/>
          </ac:spMkLst>
        </pc:spChg>
        <pc:spChg chg="add del mod modVis">
          <ac:chgData name="Helena Laasjärvi" userId="147922e0-9e4e-413c-924b-93f8f61c2127" providerId="ADAL" clId="{9EB1FEAE-4DFC-4780-9121-5C9A918FDF93}" dt="2022-03-21T14:44:03.581" v="124"/>
          <ac:spMkLst>
            <pc:docMk/>
            <pc:sldMk cId="752674889" sldId="289"/>
            <ac:spMk id="16" creationId="{57D75CAC-78D3-4D53-A7F6-E21E7C4E7BB1}"/>
          </ac:spMkLst>
        </pc:spChg>
        <pc:spChg chg="add del mod modVis">
          <ac:chgData name="Helena Laasjärvi" userId="147922e0-9e4e-413c-924b-93f8f61c2127" providerId="ADAL" clId="{9EB1FEAE-4DFC-4780-9121-5C9A918FDF93}" dt="2022-03-21T15:12:10.293" v="289"/>
          <ac:spMkLst>
            <pc:docMk/>
            <pc:sldMk cId="752674889" sldId="289"/>
            <ac:spMk id="17" creationId="{555A6489-7F75-4434-B58F-51F9480F6F57}"/>
          </ac:spMkLst>
        </pc:spChg>
        <pc:spChg chg="add del mod modVis">
          <ac:chgData name="Helena Laasjärvi" userId="147922e0-9e4e-413c-924b-93f8f61c2127" providerId="ADAL" clId="{9EB1FEAE-4DFC-4780-9121-5C9A918FDF93}" dt="2022-03-21T15:12:16.037" v="332"/>
          <ac:spMkLst>
            <pc:docMk/>
            <pc:sldMk cId="752674889" sldId="289"/>
            <ac:spMk id="18" creationId="{3C029697-E495-40C3-9586-F730866D31BA}"/>
          </ac:spMkLst>
        </pc:spChg>
        <pc:spChg chg="add del mod modVis">
          <ac:chgData name="Helena Laasjärvi" userId="147922e0-9e4e-413c-924b-93f8f61c2127" providerId="ADAL" clId="{9EB1FEAE-4DFC-4780-9121-5C9A918FDF93}" dt="2022-03-21T15:15:18.694" v="397"/>
          <ac:spMkLst>
            <pc:docMk/>
            <pc:sldMk cId="752674889" sldId="289"/>
            <ac:spMk id="23" creationId="{5688FFAA-ECEC-4210-9B59-4FABADB9B3A0}"/>
          </ac:spMkLst>
        </pc:spChg>
        <pc:spChg chg="add del mod modVis">
          <ac:chgData name="Helena Laasjärvi" userId="147922e0-9e4e-413c-924b-93f8f61c2127" providerId="ADAL" clId="{9EB1FEAE-4DFC-4780-9121-5C9A918FDF93}" dt="2022-03-21T15:47:07.968" v="717"/>
          <ac:spMkLst>
            <pc:docMk/>
            <pc:sldMk cId="752674889" sldId="289"/>
            <ac:spMk id="24" creationId="{74F5240C-BAC3-43F2-BB0E-4E3EB3B86E32}"/>
          </ac:spMkLst>
        </pc:spChg>
        <pc:graphicFrameChg chg="mod">
          <ac:chgData name="Helena Laasjärvi" userId="147922e0-9e4e-413c-924b-93f8f61c2127" providerId="ADAL" clId="{9EB1FEAE-4DFC-4780-9121-5C9A918FDF93}" dt="2022-03-21T15:53:52.743" v="762"/>
          <ac:graphicFrameMkLst>
            <pc:docMk/>
            <pc:sldMk cId="752674889" sldId="289"/>
            <ac:graphicFrameMk id="10" creationId="{C0C92CC4-9821-445B-8FC1-C7630CDC1D48}"/>
          </ac:graphicFrameMkLst>
        </pc:graphicFrameChg>
        <pc:picChg chg="add del mod ord">
          <ac:chgData name="Helena Laasjärvi" userId="147922e0-9e4e-413c-924b-93f8f61c2127" providerId="ADAL" clId="{9EB1FEAE-4DFC-4780-9121-5C9A918FDF93}" dt="2022-03-21T15:13:20.942" v="339" actId="22"/>
          <ac:picMkLst>
            <pc:docMk/>
            <pc:sldMk cId="752674889" sldId="289"/>
            <ac:picMk id="20" creationId="{A686516D-96B6-4801-83BC-2BCFDEA6EB14}"/>
          </ac:picMkLst>
        </pc:picChg>
        <pc:picChg chg="add del mod modCrop">
          <ac:chgData name="Helena Laasjärvi" userId="147922e0-9e4e-413c-924b-93f8f61c2127" providerId="ADAL" clId="{9EB1FEAE-4DFC-4780-9121-5C9A918FDF93}" dt="2022-03-21T15:15:20.371" v="400" actId="478"/>
          <ac:picMkLst>
            <pc:docMk/>
            <pc:sldMk cId="752674889" sldId="289"/>
            <ac:picMk id="22" creationId="{667A1110-75E2-49D8-B963-6F4ECE755E93}"/>
          </ac:picMkLst>
        </pc:picChg>
        <pc:picChg chg="add mod ord">
          <ac:chgData name="Helena Laasjärvi" userId="147922e0-9e4e-413c-924b-93f8f61c2127" providerId="ADAL" clId="{9EB1FEAE-4DFC-4780-9121-5C9A918FDF93}" dt="2022-03-21T15:53:52.743" v="758"/>
          <ac:picMkLst>
            <pc:docMk/>
            <pc:sldMk cId="752674889" sldId="289"/>
            <ac:picMk id="26" creationId="{328AC4BB-AECD-47FE-B305-B95D452F1AE0}"/>
          </ac:picMkLst>
        </pc:picChg>
      </pc:sldChg>
      <pc:sldChg chg="addSp delSp modSp add mod">
        <pc:chgData name="Helena Laasjärvi" userId="147922e0-9e4e-413c-924b-93f8f61c2127" providerId="ADAL" clId="{9EB1FEAE-4DFC-4780-9121-5C9A918FDF93}" dt="2022-03-21T15:51:20.506" v="755" actId="207"/>
        <pc:sldMkLst>
          <pc:docMk/>
          <pc:sldMk cId="1374272036" sldId="291"/>
        </pc:sldMkLst>
        <pc:spChg chg="mod ord">
          <ac:chgData name="Helena Laasjärvi" userId="147922e0-9e4e-413c-924b-93f8f61c2127" providerId="ADAL" clId="{9EB1FEAE-4DFC-4780-9121-5C9A918FDF93}" dt="2022-03-21T14:56:59.810" v="184" actId="26606"/>
          <ac:spMkLst>
            <pc:docMk/>
            <pc:sldMk cId="1374272036" sldId="291"/>
            <ac:spMk id="10" creationId="{0AA9639B-B7E2-44C5-9CA4-50187E024E5F}"/>
          </ac:spMkLst>
        </pc:spChg>
        <pc:spChg chg="add mod">
          <ac:chgData name="Helena Laasjärvi" userId="147922e0-9e4e-413c-924b-93f8f61c2127" providerId="ADAL" clId="{9EB1FEAE-4DFC-4780-9121-5C9A918FDF93}" dt="2022-03-21T14:48:58.611" v="150"/>
          <ac:spMkLst>
            <pc:docMk/>
            <pc:sldMk cId="1374272036" sldId="291"/>
            <ac:spMk id="12" creationId="{E887F349-FD75-4946-AB98-EB133ADBA4DC}"/>
          </ac:spMkLst>
        </pc:spChg>
        <pc:spChg chg="add mod">
          <ac:chgData name="Helena Laasjärvi" userId="147922e0-9e4e-413c-924b-93f8f61c2127" providerId="ADAL" clId="{9EB1FEAE-4DFC-4780-9121-5C9A918FDF93}" dt="2022-03-21T14:49:52.845" v="158" actId="21"/>
          <ac:spMkLst>
            <pc:docMk/>
            <pc:sldMk cId="1374272036" sldId="291"/>
            <ac:spMk id="13" creationId="{0B30EE0A-F188-4155-B095-7E62EEC8A624}"/>
          </ac:spMkLst>
        </pc:spChg>
        <pc:spChg chg="add mod">
          <ac:chgData name="Helena Laasjärvi" userId="147922e0-9e4e-413c-924b-93f8f61c2127" providerId="ADAL" clId="{9EB1FEAE-4DFC-4780-9121-5C9A918FDF93}" dt="2022-03-21T14:48:58.611" v="150"/>
          <ac:spMkLst>
            <pc:docMk/>
            <pc:sldMk cId="1374272036" sldId="291"/>
            <ac:spMk id="14" creationId="{65F8D2B5-D4AD-4470-954F-FC25E1C0F152}"/>
          </ac:spMkLst>
        </pc:spChg>
        <pc:spChg chg="add mod">
          <ac:chgData name="Helena Laasjärvi" userId="147922e0-9e4e-413c-924b-93f8f61c2127" providerId="ADAL" clId="{9EB1FEAE-4DFC-4780-9121-5C9A918FDF93}" dt="2022-03-21T14:50:13.203" v="162" actId="21"/>
          <ac:spMkLst>
            <pc:docMk/>
            <pc:sldMk cId="1374272036" sldId="291"/>
            <ac:spMk id="15" creationId="{7C9C5849-71DF-49A8-8EB2-EB5B49EB1FC1}"/>
          </ac:spMkLst>
        </pc:spChg>
        <pc:spChg chg="del">
          <ac:chgData name="Helena Laasjärvi" userId="147922e0-9e4e-413c-924b-93f8f61c2127" providerId="ADAL" clId="{9EB1FEAE-4DFC-4780-9121-5C9A918FDF93}" dt="2022-03-21T14:52:56.836" v="169" actId="26606"/>
          <ac:spMkLst>
            <pc:docMk/>
            <pc:sldMk cId="1374272036" sldId="291"/>
            <ac:spMk id="24" creationId="{5D13CC36-B950-4F02-9BAF-9A7EB267398C}"/>
          </ac:spMkLst>
        </pc:spChg>
        <pc:spChg chg="del">
          <ac:chgData name="Helena Laasjärvi" userId="147922e0-9e4e-413c-924b-93f8f61c2127" providerId="ADAL" clId="{9EB1FEAE-4DFC-4780-9121-5C9A918FDF93}" dt="2022-03-21T14:52:56.836" v="169" actId="26606"/>
          <ac:spMkLst>
            <pc:docMk/>
            <pc:sldMk cId="1374272036" sldId="291"/>
            <ac:spMk id="26" creationId="{4F2E2428-58BA-458D-AA54-05502E63F32F}"/>
          </ac:spMkLst>
        </pc:spChg>
        <pc:spChg chg="add del">
          <ac:chgData name="Helena Laasjärvi" userId="147922e0-9e4e-413c-924b-93f8f61c2127" providerId="ADAL" clId="{9EB1FEAE-4DFC-4780-9121-5C9A918FDF93}" dt="2022-03-21T14:56:59.810" v="184" actId="26606"/>
          <ac:spMkLst>
            <pc:docMk/>
            <pc:sldMk cId="1374272036" sldId="291"/>
            <ac:spMk id="31" creationId="{6C4028FD-8BAA-4A19-BFDE-594D991B7552}"/>
          </ac:spMkLst>
        </pc:spChg>
        <pc:spChg chg="add">
          <ac:chgData name="Helena Laasjärvi" userId="147922e0-9e4e-413c-924b-93f8f61c2127" providerId="ADAL" clId="{9EB1FEAE-4DFC-4780-9121-5C9A918FDF93}" dt="2022-03-21T14:56:59.810" v="184" actId="26606"/>
          <ac:spMkLst>
            <pc:docMk/>
            <pc:sldMk cId="1374272036" sldId="291"/>
            <ac:spMk id="36" creationId="{B670DBD5-770C-4383-9F54-5B86E86BD5BB}"/>
          </ac:spMkLst>
        </pc:spChg>
        <pc:grpChg chg="add del mod">
          <ac:chgData name="Helena Laasjärvi" userId="147922e0-9e4e-413c-924b-93f8f61c2127" providerId="ADAL" clId="{9EB1FEAE-4DFC-4780-9121-5C9A918FDF93}" dt="2022-03-21T14:52:30.032" v="167" actId="478"/>
          <ac:grpSpMkLst>
            <pc:docMk/>
            <pc:sldMk cId="1374272036" sldId="291"/>
            <ac:grpSpMk id="9" creationId="{41016BCB-BE6B-4FB4-8E04-7222B59ACA1B}"/>
          </ac:grpSpMkLst>
        </pc:grpChg>
        <pc:grpChg chg="add del mod">
          <ac:chgData name="Helena Laasjärvi" userId="147922e0-9e4e-413c-924b-93f8f61c2127" providerId="ADAL" clId="{9EB1FEAE-4DFC-4780-9121-5C9A918FDF93}" dt="2022-03-21T14:52:31.179" v="168" actId="478"/>
          <ac:grpSpMkLst>
            <pc:docMk/>
            <pc:sldMk cId="1374272036" sldId="291"/>
            <ac:grpSpMk id="11" creationId="{07460272-3A17-49C6-B18C-4C9A5225E80C}"/>
          </ac:grpSpMkLst>
        </pc:grpChg>
        <pc:graphicFrameChg chg="mod modGraphic">
          <ac:chgData name="Helena Laasjärvi" userId="147922e0-9e4e-413c-924b-93f8f61c2127" providerId="ADAL" clId="{9EB1FEAE-4DFC-4780-9121-5C9A918FDF93}" dt="2022-03-21T15:51:20.506" v="755" actId="207"/>
          <ac:graphicFrameMkLst>
            <pc:docMk/>
            <pc:sldMk cId="1374272036" sldId="291"/>
            <ac:graphicFrameMk id="8" creationId="{B936F7B1-E20A-3AF0-9D08-1FF576802789}"/>
          </ac:graphicFrameMkLst>
        </pc:graphicFrameChg>
        <pc:picChg chg="del">
          <ac:chgData name="Helena Laasjärvi" userId="147922e0-9e4e-413c-924b-93f8f61c2127" providerId="ADAL" clId="{9EB1FEAE-4DFC-4780-9121-5C9A918FDF93}" dt="2022-03-21T14:46:23.692" v="144" actId="478"/>
          <ac:picMkLst>
            <pc:docMk/>
            <pc:sldMk cId="1374272036" sldId="291"/>
            <ac:picMk id="2" creationId="{1B15E2E3-BEF0-41EF-BFE8-CB97AF43BC16}"/>
          </ac:picMkLst>
        </pc:picChg>
        <pc:picChg chg="add del mod">
          <ac:chgData name="Helena Laasjärvi" userId="147922e0-9e4e-413c-924b-93f8f61c2127" providerId="ADAL" clId="{9EB1FEAE-4DFC-4780-9121-5C9A918FDF93}" dt="2022-03-21T14:59:05.330" v="191" actId="478"/>
          <ac:picMkLst>
            <pc:docMk/>
            <pc:sldMk cId="1374272036" sldId="291"/>
            <ac:picMk id="5" creationId="{00A25A3B-D43A-4F39-9931-42CA812460F7}"/>
          </ac:picMkLst>
        </pc:picChg>
      </pc:sldChg>
      <pc:sldChg chg="addSp delSp modSp add mod ord">
        <pc:chgData name="Helena Laasjärvi" userId="147922e0-9e4e-413c-924b-93f8f61c2127" providerId="ADAL" clId="{9EB1FEAE-4DFC-4780-9121-5C9A918FDF93}" dt="2022-03-21T15:11:39.609" v="248" actId="255"/>
        <pc:sldMkLst>
          <pc:docMk/>
          <pc:sldMk cId="1503456678" sldId="292"/>
        </pc:sldMkLst>
        <pc:spChg chg="mod">
          <ac:chgData name="Helena Laasjärvi" userId="147922e0-9e4e-413c-924b-93f8f61c2127" providerId="ADAL" clId="{9EB1FEAE-4DFC-4780-9121-5C9A918FDF93}" dt="2022-03-21T15:11:39.609" v="248" actId="255"/>
          <ac:spMkLst>
            <pc:docMk/>
            <pc:sldMk cId="1503456678" sldId="292"/>
            <ac:spMk id="10" creationId="{0AA9639B-B7E2-44C5-9CA4-50187E024E5F}"/>
          </ac:spMkLst>
        </pc:spChg>
        <pc:spChg chg="del">
          <ac:chgData name="Helena Laasjärvi" userId="147922e0-9e4e-413c-924b-93f8f61c2127" providerId="ADAL" clId="{9EB1FEAE-4DFC-4780-9121-5C9A918FDF93}" dt="2022-03-21T15:02:05.298" v="210" actId="26606"/>
          <ac:spMkLst>
            <pc:docMk/>
            <pc:sldMk cId="1503456678" sldId="292"/>
            <ac:spMk id="24" creationId="{5D13CC36-B950-4F02-9BAF-9A7EB267398C}"/>
          </ac:spMkLst>
        </pc:spChg>
        <pc:spChg chg="del">
          <ac:chgData name="Helena Laasjärvi" userId="147922e0-9e4e-413c-924b-93f8f61c2127" providerId="ADAL" clId="{9EB1FEAE-4DFC-4780-9121-5C9A918FDF93}" dt="2022-03-21T15:02:05.298" v="210" actId="26606"/>
          <ac:spMkLst>
            <pc:docMk/>
            <pc:sldMk cId="1503456678" sldId="292"/>
            <ac:spMk id="26" creationId="{4F2E2428-58BA-458D-AA54-05502E63F32F}"/>
          </ac:spMkLst>
        </pc:spChg>
        <pc:spChg chg="add del">
          <ac:chgData name="Helena Laasjärvi" userId="147922e0-9e4e-413c-924b-93f8f61c2127" providerId="ADAL" clId="{9EB1FEAE-4DFC-4780-9121-5C9A918FDF93}" dt="2022-03-21T15:07:17.231" v="230" actId="26606"/>
          <ac:spMkLst>
            <pc:docMk/>
            <pc:sldMk cId="1503456678" sldId="292"/>
            <ac:spMk id="31" creationId="{DD38EE57-B708-47C9-A4A4-E25F09FAB029}"/>
          </ac:spMkLst>
        </pc:spChg>
        <pc:spChg chg="add del">
          <ac:chgData name="Helena Laasjärvi" userId="147922e0-9e4e-413c-924b-93f8f61c2127" providerId="ADAL" clId="{9EB1FEAE-4DFC-4780-9121-5C9A918FDF93}" dt="2022-03-21T15:08:34.942" v="234" actId="26606"/>
          <ac:spMkLst>
            <pc:docMk/>
            <pc:sldMk cId="1503456678" sldId="292"/>
            <ac:spMk id="43" creationId="{7FF47CB7-972F-479F-A36D-9E72D26EC8DA}"/>
          </ac:spMkLst>
        </pc:spChg>
        <pc:spChg chg="add del">
          <ac:chgData name="Helena Laasjärvi" userId="147922e0-9e4e-413c-924b-93f8f61c2127" providerId="ADAL" clId="{9EB1FEAE-4DFC-4780-9121-5C9A918FDF93}" dt="2022-03-21T15:08:34.942" v="234" actId="26606"/>
          <ac:spMkLst>
            <pc:docMk/>
            <pc:sldMk cId="1503456678" sldId="292"/>
            <ac:spMk id="45" creationId="{0D153B68-5844-490D-8E67-F616D6D721CA}"/>
          </ac:spMkLst>
        </pc:spChg>
        <pc:spChg chg="add del">
          <ac:chgData name="Helena Laasjärvi" userId="147922e0-9e4e-413c-924b-93f8f61c2127" providerId="ADAL" clId="{9EB1FEAE-4DFC-4780-9121-5C9A918FDF93}" dt="2022-03-21T15:08:34.942" v="234" actId="26606"/>
          <ac:spMkLst>
            <pc:docMk/>
            <pc:sldMk cId="1503456678" sldId="292"/>
            <ac:spMk id="47" creationId="{9A0D773F-7A7D-4DBB-9DEA-86BB8B8F4BC8}"/>
          </ac:spMkLst>
        </pc:spChg>
        <pc:spChg chg="add">
          <ac:chgData name="Helena Laasjärvi" userId="147922e0-9e4e-413c-924b-93f8f61c2127" providerId="ADAL" clId="{9EB1FEAE-4DFC-4780-9121-5C9A918FDF93}" dt="2022-03-21T15:08:34.942" v="234" actId="26606"/>
          <ac:spMkLst>
            <pc:docMk/>
            <pc:sldMk cId="1503456678" sldId="292"/>
            <ac:spMk id="52" creationId="{F821940F-7A1D-4ACC-85B4-A932898ABB37}"/>
          </ac:spMkLst>
        </pc:spChg>
        <pc:spChg chg="add">
          <ac:chgData name="Helena Laasjärvi" userId="147922e0-9e4e-413c-924b-93f8f61c2127" providerId="ADAL" clId="{9EB1FEAE-4DFC-4780-9121-5C9A918FDF93}" dt="2022-03-21T15:08:34.942" v="234" actId="26606"/>
          <ac:spMkLst>
            <pc:docMk/>
            <pc:sldMk cId="1503456678" sldId="292"/>
            <ac:spMk id="54" creationId="{16674508-81D3-48CF-96BF-7FC60EAA572A}"/>
          </ac:spMkLst>
        </pc:spChg>
        <pc:grpChg chg="add del">
          <ac:chgData name="Helena Laasjärvi" userId="147922e0-9e4e-413c-924b-93f8f61c2127" providerId="ADAL" clId="{9EB1FEAE-4DFC-4780-9121-5C9A918FDF93}" dt="2022-03-21T15:07:17.231" v="230" actId="26606"/>
          <ac:grpSpMkLst>
            <pc:docMk/>
            <pc:sldMk cId="1503456678" sldId="292"/>
            <ac:grpSpMk id="33" creationId="{57A28182-58A5-4DBB-8F64-BD944BCA8154}"/>
          </ac:grpSpMkLst>
        </pc:grpChg>
        <pc:graphicFrameChg chg="mod modGraphic">
          <ac:chgData name="Helena Laasjärvi" userId="147922e0-9e4e-413c-924b-93f8f61c2127" providerId="ADAL" clId="{9EB1FEAE-4DFC-4780-9121-5C9A918FDF93}" dt="2022-03-21T15:11:21.349" v="245" actId="13782"/>
          <ac:graphicFrameMkLst>
            <pc:docMk/>
            <pc:sldMk cId="1503456678" sldId="292"/>
            <ac:graphicFrameMk id="8" creationId="{B936F7B1-E20A-3AF0-9D08-1FF576802789}"/>
          </ac:graphicFrameMkLst>
        </pc:graphicFrameChg>
        <pc:picChg chg="del">
          <ac:chgData name="Helena Laasjärvi" userId="147922e0-9e4e-413c-924b-93f8f61c2127" providerId="ADAL" clId="{9EB1FEAE-4DFC-4780-9121-5C9A918FDF93}" dt="2022-03-21T15:01:38.144" v="206" actId="478"/>
          <ac:picMkLst>
            <pc:docMk/>
            <pc:sldMk cId="1503456678" sldId="292"/>
            <ac:picMk id="2" creationId="{1B15E2E3-BEF0-41EF-BFE8-CB97AF43BC16}"/>
          </ac:picMkLst>
        </pc:picChg>
        <pc:picChg chg="add mod ord">
          <ac:chgData name="Helena Laasjärvi" userId="147922e0-9e4e-413c-924b-93f8f61c2127" providerId="ADAL" clId="{9EB1FEAE-4DFC-4780-9121-5C9A918FDF93}" dt="2022-03-21T15:08:34.942" v="234" actId="26606"/>
          <ac:picMkLst>
            <pc:docMk/>
            <pc:sldMk cId="1503456678" sldId="292"/>
            <ac:picMk id="6" creationId="{9D1B725A-9F7F-4A5F-A8A5-52289C013BBA}"/>
          </ac:picMkLst>
        </pc:picChg>
      </pc:sldChg>
      <pc:sldChg chg="addSp delSp modSp add mod">
        <pc:chgData name="Helena Laasjärvi" userId="147922e0-9e4e-413c-924b-93f8f61c2127" providerId="ADAL" clId="{9EB1FEAE-4DFC-4780-9121-5C9A918FDF93}" dt="2022-03-21T15:14:43.886" v="356" actId="2711"/>
        <pc:sldMkLst>
          <pc:docMk/>
          <pc:sldMk cId="2362643404" sldId="293"/>
        </pc:sldMkLst>
        <pc:spChg chg="mod">
          <ac:chgData name="Helena Laasjärvi" userId="147922e0-9e4e-413c-924b-93f8f61c2127" providerId="ADAL" clId="{9EB1FEAE-4DFC-4780-9121-5C9A918FDF93}" dt="2022-03-21T15:14:43.886" v="356" actId="2711"/>
          <ac:spMkLst>
            <pc:docMk/>
            <pc:sldMk cId="2362643404" sldId="293"/>
            <ac:spMk id="10" creationId="{0AA9639B-B7E2-44C5-9CA4-50187E024E5F}"/>
          </ac:spMkLst>
        </pc:spChg>
        <pc:spChg chg="del">
          <ac:chgData name="Helena Laasjärvi" userId="147922e0-9e4e-413c-924b-93f8f61c2127" providerId="ADAL" clId="{9EB1FEAE-4DFC-4780-9121-5C9A918FDF93}" dt="2022-03-21T15:14:24.897" v="355" actId="26606"/>
          <ac:spMkLst>
            <pc:docMk/>
            <pc:sldMk cId="2362643404" sldId="293"/>
            <ac:spMk id="52" creationId="{F821940F-7A1D-4ACC-85B4-A932898ABB37}"/>
          </ac:spMkLst>
        </pc:spChg>
        <pc:spChg chg="del">
          <ac:chgData name="Helena Laasjärvi" userId="147922e0-9e4e-413c-924b-93f8f61c2127" providerId="ADAL" clId="{9EB1FEAE-4DFC-4780-9121-5C9A918FDF93}" dt="2022-03-21T15:14:24.897" v="355" actId="26606"/>
          <ac:spMkLst>
            <pc:docMk/>
            <pc:sldMk cId="2362643404" sldId="293"/>
            <ac:spMk id="54" creationId="{16674508-81D3-48CF-96BF-7FC60EAA572A}"/>
          </ac:spMkLst>
        </pc:spChg>
        <pc:spChg chg="add">
          <ac:chgData name="Helena Laasjärvi" userId="147922e0-9e4e-413c-924b-93f8f61c2127" providerId="ADAL" clId="{9EB1FEAE-4DFC-4780-9121-5C9A918FDF93}" dt="2022-03-21T15:14:24.897" v="355" actId="26606"/>
          <ac:spMkLst>
            <pc:docMk/>
            <pc:sldMk cId="2362643404" sldId="293"/>
            <ac:spMk id="59" creationId="{3C54F4CE-85F0-46ED-80DA-9518C9251AD1}"/>
          </ac:spMkLst>
        </pc:spChg>
        <pc:spChg chg="add">
          <ac:chgData name="Helena Laasjärvi" userId="147922e0-9e4e-413c-924b-93f8f61c2127" providerId="ADAL" clId="{9EB1FEAE-4DFC-4780-9121-5C9A918FDF93}" dt="2022-03-21T15:14:24.897" v="355" actId="26606"/>
          <ac:spMkLst>
            <pc:docMk/>
            <pc:sldMk cId="2362643404" sldId="293"/>
            <ac:spMk id="61" creationId="{DADD1FCA-8ACB-4958-81DD-4CDD6D3E1921}"/>
          </ac:spMkLst>
        </pc:spChg>
        <pc:graphicFrameChg chg="del mod">
          <ac:chgData name="Helena Laasjärvi" userId="147922e0-9e4e-413c-924b-93f8f61c2127" providerId="ADAL" clId="{9EB1FEAE-4DFC-4780-9121-5C9A918FDF93}" dt="2022-03-21T15:14:21.589" v="354" actId="478"/>
          <ac:graphicFrameMkLst>
            <pc:docMk/>
            <pc:sldMk cId="2362643404" sldId="293"/>
            <ac:graphicFrameMk id="8" creationId="{B936F7B1-E20A-3AF0-9D08-1FF576802789}"/>
          </ac:graphicFrameMkLst>
        </pc:graphicFrameChg>
        <pc:picChg chg="del">
          <ac:chgData name="Helena Laasjärvi" userId="147922e0-9e4e-413c-924b-93f8f61c2127" providerId="ADAL" clId="{9EB1FEAE-4DFC-4780-9121-5C9A918FDF93}" dt="2022-03-21T15:13:56.690" v="348" actId="478"/>
          <ac:picMkLst>
            <pc:docMk/>
            <pc:sldMk cId="2362643404" sldId="293"/>
            <ac:picMk id="6" creationId="{9D1B725A-9F7F-4A5F-A8A5-52289C013BBA}"/>
          </ac:picMkLst>
        </pc:picChg>
        <pc:picChg chg="add mod ord">
          <ac:chgData name="Helena Laasjärvi" userId="147922e0-9e4e-413c-924b-93f8f61c2127" providerId="ADAL" clId="{9EB1FEAE-4DFC-4780-9121-5C9A918FDF93}" dt="2022-03-21T15:14:24.897" v="355" actId="26606"/>
          <ac:picMkLst>
            <pc:docMk/>
            <pc:sldMk cId="2362643404" sldId="293"/>
            <ac:picMk id="9" creationId="{BDBC66E5-725B-470A-8217-3BD964E64204}"/>
          </ac:picMkLst>
        </pc:picChg>
      </pc:sldChg>
      <pc:sldChg chg="addSp delSp modSp add mod ord">
        <pc:chgData name="Helena Laasjärvi" userId="147922e0-9e4e-413c-924b-93f8f61c2127" providerId="ADAL" clId="{9EB1FEAE-4DFC-4780-9121-5C9A918FDF93}" dt="2022-03-21T15:20:51.896" v="433" actId="313"/>
        <pc:sldMkLst>
          <pc:docMk/>
          <pc:sldMk cId="2306014607" sldId="294"/>
        </pc:sldMkLst>
        <pc:spChg chg="mod">
          <ac:chgData name="Helena Laasjärvi" userId="147922e0-9e4e-413c-924b-93f8f61c2127" providerId="ADAL" clId="{9EB1FEAE-4DFC-4780-9121-5C9A918FDF93}" dt="2022-03-21T15:16:20.998" v="410" actId="26606"/>
          <ac:spMkLst>
            <pc:docMk/>
            <pc:sldMk cId="2306014607" sldId="294"/>
            <ac:spMk id="3" creationId="{F11D86D1-2E03-42E9-A372-AD660C7DB75E}"/>
          </ac:spMkLst>
        </pc:spChg>
        <pc:spChg chg="add">
          <ac:chgData name="Helena Laasjärvi" userId="147922e0-9e4e-413c-924b-93f8f61c2127" providerId="ADAL" clId="{9EB1FEAE-4DFC-4780-9121-5C9A918FDF93}" dt="2022-03-21T15:16:20.998" v="410" actId="26606"/>
          <ac:spMkLst>
            <pc:docMk/>
            <pc:sldMk cId="2306014607" sldId="294"/>
            <ac:spMk id="10" creationId="{F0DCC097-1DB8-4B6D-85D0-6FBA0E1CA4BA}"/>
          </ac:spMkLst>
        </pc:spChg>
        <pc:spChg chg="add">
          <ac:chgData name="Helena Laasjärvi" userId="147922e0-9e4e-413c-924b-93f8f61c2127" providerId="ADAL" clId="{9EB1FEAE-4DFC-4780-9121-5C9A918FDF93}" dt="2022-03-21T15:16:20.998" v="410" actId="26606"/>
          <ac:spMkLst>
            <pc:docMk/>
            <pc:sldMk cId="2306014607" sldId="294"/>
            <ac:spMk id="12" creationId="{E0B58608-23C8-4441-994D-C6823EEE1DB7}"/>
          </ac:spMkLst>
        </pc:spChg>
        <pc:graphicFrameChg chg="add mod modGraphic">
          <ac:chgData name="Helena Laasjärvi" userId="147922e0-9e4e-413c-924b-93f8f61c2127" providerId="ADAL" clId="{9EB1FEAE-4DFC-4780-9121-5C9A918FDF93}" dt="2022-03-21T15:20:51.896" v="433" actId="313"/>
          <ac:graphicFrameMkLst>
            <pc:docMk/>
            <pc:sldMk cId="2306014607" sldId="294"/>
            <ac:graphicFrameMk id="5" creationId="{959CFE47-A099-480D-A866-72F9B382E40C}"/>
          </ac:graphicFrameMkLst>
        </pc:graphicFrameChg>
        <pc:graphicFrameChg chg="del">
          <ac:chgData name="Helena Laasjärvi" userId="147922e0-9e4e-413c-924b-93f8f61c2127" providerId="ADAL" clId="{9EB1FEAE-4DFC-4780-9121-5C9A918FDF93}" dt="2022-03-21T15:16:09.721" v="408" actId="478"/>
          <ac:graphicFrameMkLst>
            <pc:docMk/>
            <pc:sldMk cId="2306014607" sldId="294"/>
            <ac:graphicFrameMk id="8" creationId="{B936F7B1-E20A-3AF0-9D08-1FF576802789}"/>
          </ac:graphicFrameMkLst>
        </pc:graphicFrameChg>
      </pc:sldChg>
      <pc:sldChg chg="addSp delSp modSp add mod ord">
        <pc:chgData name="Helena Laasjärvi" userId="147922e0-9e4e-413c-924b-93f8f61c2127" providerId="ADAL" clId="{9EB1FEAE-4DFC-4780-9121-5C9A918FDF93}" dt="2022-03-21T15:26:03.123" v="454" actId="255"/>
        <pc:sldMkLst>
          <pc:docMk/>
          <pc:sldMk cId="2948409664" sldId="295"/>
        </pc:sldMkLst>
        <pc:spChg chg="mod ord">
          <ac:chgData name="Helena Laasjärvi" userId="147922e0-9e4e-413c-924b-93f8f61c2127" providerId="ADAL" clId="{9EB1FEAE-4DFC-4780-9121-5C9A918FDF93}" dt="2022-03-21T15:26:03.123" v="454" actId="255"/>
          <ac:spMkLst>
            <pc:docMk/>
            <pc:sldMk cId="2948409664" sldId="295"/>
            <ac:spMk id="10" creationId="{0AA9639B-B7E2-44C5-9CA4-50187E024E5F}"/>
          </ac:spMkLst>
        </pc:spChg>
        <pc:spChg chg="del">
          <ac:chgData name="Helena Laasjärvi" userId="147922e0-9e4e-413c-924b-93f8f61c2127" providerId="ADAL" clId="{9EB1FEAE-4DFC-4780-9121-5C9A918FDF93}" dt="2022-03-21T15:23:05.599" v="446" actId="26606"/>
          <ac:spMkLst>
            <pc:docMk/>
            <pc:sldMk cId="2948409664" sldId="295"/>
            <ac:spMk id="36" creationId="{B670DBD5-770C-4383-9F54-5B86E86BD5BB}"/>
          </ac:spMkLst>
        </pc:spChg>
        <pc:spChg chg="add del">
          <ac:chgData name="Helena Laasjärvi" userId="147922e0-9e4e-413c-924b-93f8f61c2127" providerId="ADAL" clId="{9EB1FEAE-4DFC-4780-9121-5C9A918FDF93}" dt="2022-03-21T15:23:21.772" v="447" actId="26606"/>
          <ac:spMkLst>
            <pc:docMk/>
            <pc:sldMk cId="2948409664" sldId="295"/>
            <ac:spMk id="41" creationId="{56E9B3E6-E277-4D68-BA48-9CB43FFBD6E2}"/>
          </ac:spMkLst>
        </pc:spChg>
        <pc:spChg chg="add del">
          <ac:chgData name="Helena Laasjärvi" userId="147922e0-9e4e-413c-924b-93f8f61c2127" providerId="ADAL" clId="{9EB1FEAE-4DFC-4780-9121-5C9A918FDF93}" dt="2022-03-21T15:23:21.772" v="447" actId="26606"/>
          <ac:spMkLst>
            <pc:docMk/>
            <pc:sldMk cId="2948409664" sldId="295"/>
            <ac:spMk id="48" creationId="{D5B0017B-2ECA-49AF-B397-DC140825DF8D}"/>
          </ac:spMkLst>
        </pc:spChg>
        <pc:spChg chg="add">
          <ac:chgData name="Helena Laasjärvi" userId="147922e0-9e4e-413c-924b-93f8f61c2127" providerId="ADAL" clId="{9EB1FEAE-4DFC-4780-9121-5C9A918FDF93}" dt="2022-03-21T15:23:21.772" v="447" actId="26606"/>
          <ac:spMkLst>
            <pc:docMk/>
            <pc:sldMk cId="2948409664" sldId="295"/>
            <ac:spMk id="56" creationId="{257363FD-7E77-4145-9483-331A807ADF0E}"/>
          </ac:spMkLst>
        </pc:spChg>
        <pc:grpChg chg="add del">
          <ac:chgData name="Helena Laasjärvi" userId="147922e0-9e4e-413c-924b-93f8f61c2127" providerId="ADAL" clId="{9EB1FEAE-4DFC-4780-9121-5C9A918FDF93}" dt="2022-03-21T15:23:21.772" v="447" actId="26606"/>
          <ac:grpSpMkLst>
            <pc:docMk/>
            <pc:sldMk cId="2948409664" sldId="295"/>
            <ac:grpSpMk id="43" creationId="{AE1C45F0-260A-458C-96ED-C1F6D2151219}"/>
          </ac:grpSpMkLst>
        </pc:grpChg>
        <pc:graphicFrameChg chg="mod modGraphic">
          <ac:chgData name="Helena Laasjärvi" userId="147922e0-9e4e-413c-924b-93f8f61c2127" providerId="ADAL" clId="{9EB1FEAE-4DFC-4780-9121-5C9A918FDF93}" dt="2022-03-21T15:25:36.670" v="452" actId="207"/>
          <ac:graphicFrameMkLst>
            <pc:docMk/>
            <pc:sldMk cId="2948409664" sldId="295"/>
            <ac:graphicFrameMk id="8" creationId="{B936F7B1-E20A-3AF0-9D08-1FF576802789}"/>
          </ac:graphicFrameMkLst>
        </pc:graphicFrameChg>
        <pc:picChg chg="add">
          <ac:chgData name="Helena Laasjärvi" userId="147922e0-9e4e-413c-924b-93f8f61c2127" providerId="ADAL" clId="{9EB1FEAE-4DFC-4780-9121-5C9A918FDF93}" dt="2022-03-21T15:23:21.772" v="447" actId="26606"/>
          <ac:picMkLst>
            <pc:docMk/>
            <pc:sldMk cId="2948409664" sldId="295"/>
            <ac:picMk id="52" creationId="{7BC89DCF-B44B-DC4E-E164-6895E9751918}"/>
          </ac:picMkLst>
        </pc:picChg>
        <pc:cxnChg chg="add del">
          <ac:chgData name="Helena Laasjärvi" userId="147922e0-9e4e-413c-924b-93f8f61c2127" providerId="ADAL" clId="{9EB1FEAE-4DFC-4780-9121-5C9A918FDF93}" dt="2022-03-21T15:23:21.772" v="447" actId="26606"/>
          <ac:cxnSpMkLst>
            <pc:docMk/>
            <pc:sldMk cId="2948409664" sldId="295"/>
            <ac:cxnSpMk id="50" creationId="{6CF1BAF6-AD41-4082-B212-8A1F9A2E8779}"/>
          </ac:cxnSpMkLst>
        </pc:cxnChg>
      </pc:sldChg>
      <pc:sldChg chg="addSp delSp modSp add mod ord">
        <pc:chgData name="Helena Laasjärvi" userId="147922e0-9e4e-413c-924b-93f8f61c2127" providerId="ADAL" clId="{9EB1FEAE-4DFC-4780-9121-5C9A918FDF93}" dt="2022-03-21T15:32:51.496" v="485" actId="255"/>
        <pc:sldMkLst>
          <pc:docMk/>
          <pc:sldMk cId="3358695604" sldId="296"/>
        </pc:sldMkLst>
        <pc:spChg chg="mod">
          <ac:chgData name="Helena Laasjärvi" userId="147922e0-9e4e-413c-924b-93f8f61c2127" providerId="ADAL" clId="{9EB1FEAE-4DFC-4780-9121-5C9A918FDF93}" dt="2022-03-21T15:32:51.496" v="485" actId="255"/>
          <ac:spMkLst>
            <pc:docMk/>
            <pc:sldMk cId="3358695604" sldId="296"/>
            <ac:spMk id="3" creationId="{F11D86D1-2E03-42E9-A372-AD660C7DB75E}"/>
          </ac:spMkLst>
        </pc:spChg>
        <pc:spChg chg="add del">
          <ac:chgData name="Helena Laasjärvi" userId="147922e0-9e4e-413c-924b-93f8f61c2127" providerId="ADAL" clId="{9EB1FEAE-4DFC-4780-9121-5C9A918FDF93}" dt="2022-03-21T15:30:28.094" v="476" actId="26606"/>
          <ac:spMkLst>
            <pc:docMk/>
            <pc:sldMk cId="3358695604" sldId="296"/>
            <ac:spMk id="13" creationId="{44AD29B6-BF3B-4407-9E75-52DF8E3B29F1}"/>
          </ac:spMkLst>
        </pc:spChg>
        <pc:spChg chg="add del">
          <ac:chgData name="Helena Laasjärvi" userId="147922e0-9e4e-413c-924b-93f8f61c2127" providerId="ADAL" clId="{9EB1FEAE-4DFC-4780-9121-5C9A918FDF93}" dt="2022-03-21T15:30:28.094" v="476" actId="26606"/>
          <ac:spMkLst>
            <pc:docMk/>
            <pc:sldMk cId="3358695604" sldId="296"/>
            <ac:spMk id="14" creationId="{257363FD-7E77-4145-9483-331A807ADF0E}"/>
          </ac:spMkLst>
        </pc:spChg>
        <pc:spChg chg="add del">
          <ac:chgData name="Helena Laasjärvi" userId="147922e0-9e4e-413c-924b-93f8f61c2127" providerId="ADAL" clId="{9EB1FEAE-4DFC-4780-9121-5C9A918FDF93}" dt="2022-03-21T15:30:28.094" v="476" actId="26606"/>
          <ac:spMkLst>
            <pc:docMk/>
            <pc:sldMk cId="3358695604" sldId="296"/>
            <ac:spMk id="15" creationId="{55F8BA08-3E38-4B70-B93A-74F08E092206}"/>
          </ac:spMkLst>
        </pc:spChg>
        <pc:spChg chg="add del">
          <ac:chgData name="Helena Laasjärvi" userId="147922e0-9e4e-413c-924b-93f8f61c2127" providerId="ADAL" clId="{9EB1FEAE-4DFC-4780-9121-5C9A918FDF93}" dt="2022-03-21T15:30:28.094" v="476" actId="26606"/>
          <ac:spMkLst>
            <pc:docMk/>
            <pc:sldMk cId="3358695604" sldId="296"/>
            <ac:spMk id="17" creationId="{357F1B33-79AB-4A71-8CEC-4546D709B8C8}"/>
          </ac:spMkLst>
        </pc:spChg>
        <pc:spChg chg="add">
          <ac:chgData name="Helena Laasjärvi" userId="147922e0-9e4e-413c-924b-93f8f61c2127" providerId="ADAL" clId="{9EB1FEAE-4DFC-4780-9121-5C9A918FDF93}" dt="2022-03-21T15:30:28.094" v="476" actId="26606"/>
          <ac:spMkLst>
            <pc:docMk/>
            <pc:sldMk cId="3358695604" sldId="296"/>
            <ac:spMk id="22" creationId="{257363FD-7E77-4145-9483-331A807ADF0E}"/>
          </ac:spMkLst>
        </pc:spChg>
        <pc:graphicFrameChg chg="mod modGraphic">
          <ac:chgData name="Helena Laasjärvi" userId="147922e0-9e4e-413c-924b-93f8f61c2127" providerId="ADAL" clId="{9EB1FEAE-4DFC-4780-9121-5C9A918FDF93}" dt="2022-03-21T15:32:40.845" v="483" actId="26606"/>
          <ac:graphicFrameMkLst>
            <pc:docMk/>
            <pc:sldMk cId="3358695604" sldId="296"/>
            <ac:graphicFrameMk id="8" creationId="{B936F7B1-E20A-3AF0-9D08-1FF576802789}"/>
          </ac:graphicFrameMkLst>
        </pc:graphicFrameChg>
        <pc:picChg chg="add">
          <ac:chgData name="Helena Laasjärvi" userId="147922e0-9e4e-413c-924b-93f8f61c2127" providerId="ADAL" clId="{9EB1FEAE-4DFC-4780-9121-5C9A918FDF93}" dt="2022-03-21T15:30:08.090" v="474" actId="26606"/>
          <ac:picMkLst>
            <pc:docMk/>
            <pc:sldMk cId="3358695604" sldId="296"/>
            <ac:picMk id="10" creationId="{8224FBB3-9181-7BA2-6022-47C00AB31C48}"/>
          </ac:picMkLst>
        </pc:picChg>
      </pc:sldChg>
      <pc:sldChg chg="addSp delSp modSp add del mod setBg">
        <pc:chgData name="Helena Laasjärvi" userId="147922e0-9e4e-413c-924b-93f8f61c2127" providerId="ADAL" clId="{9EB1FEAE-4DFC-4780-9121-5C9A918FDF93}" dt="2022-03-21T15:46:50.310" v="676" actId="2696"/>
        <pc:sldMkLst>
          <pc:docMk/>
          <pc:sldMk cId="1562593503" sldId="297"/>
        </pc:sldMkLst>
        <pc:spChg chg="mod ord">
          <ac:chgData name="Helena Laasjärvi" userId="147922e0-9e4e-413c-924b-93f8f61c2127" providerId="ADAL" clId="{9EB1FEAE-4DFC-4780-9121-5C9A918FDF93}" dt="2022-03-21T15:41:36.509" v="619"/>
          <ac:spMkLst>
            <pc:docMk/>
            <pc:sldMk cId="1562593503" sldId="297"/>
            <ac:spMk id="3" creationId="{F11D86D1-2E03-42E9-A372-AD660C7DB75E}"/>
          </ac:spMkLst>
        </pc:spChg>
        <pc:spChg chg="mod">
          <ac:chgData name="Helena Laasjärvi" userId="147922e0-9e4e-413c-924b-93f8f61c2127" providerId="ADAL" clId="{9EB1FEAE-4DFC-4780-9121-5C9A918FDF93}" dt="2022-03-21T15:41:17.865" v="587" actId="18245"/>
          <ac:spMkLst>
            <pc:docMk/>
            <pc:sldMk cId="1562593503" sldId="297"/>
            <ac:spMk id="5" creationId="{B135AE31-9CBA-4926-9268-4DF814AE3826}"/>
          </ac:spMkLst>
        </pc:spChg>
        <pc:spChg chg="mod">
          <ac:chgData name="Helena Laasjärvi" userId="147922e0-9e4e-413c-924b-93f8f61c2127" providerId="ADAL" clId="{9EB1FEAE-4DFC-4780-9121-5C9A918FDF93}" dt="2022-03-21T15:41:17.865" v="587" actId="18245"/>
          <ac:spMkLst>
            <pc:docMk/>
            <pc:sldMk cId="1562593503" sldId="297"/>
            <ac:spMk id="6" creationId="{1C85CAB0-5652-49AA-9A1F-D16290ED86AF}"/>
          </ac:spMkLst>
        </pc:spChg>
        <pc:spChg chg="mod">
          <ac:chgData name="Helena Laasjärvi" userId="147922e0-9e4e-413c-924b-93f8f61c2127" providerId="ADAL" clId="{9EB1FEAE-4DFC-4780-9121-5C9A918FDF93}" dt="2022-03-21T15:41:17.865" v="587" actId="18245"/>
          <ac:spMkLst>
            <pc:docMk/>
            <pc:sldMk cId="1562593503" sldId="297"/>
            <ac:spMk id="7" creationId="{2899BDC0-4DEE-4018-A438-9086C7938580}"/>
          </ac:spMkLst>
        </pc:spChg>
        <pc:spChg chg="mod">
          <ac:chgData name="Helena Laasjärvi" userId="147922e0-9e4e-413c-924b-93f8f61c2127" providerId="ADAL" clId="{9EB1FEAE-4DFC-4780-9121-5C9A918FDF93}" dt="2022-03-21T15:41:17.865" v="587" actId="18245"/>
          <ac:spMkLst>
            <pc:docMk/>
            <pc:sldMk cId="1562593503" sldId="297"/>
            <ac:spMk id="9" creationId="{1849B35B-D1EC-401B-8578-DAB532D5C14C}"/>
          </ac:spMkLst>
        </pc:spChg>
        <pc:spChg chg="mod">
          <ac:chgData name="Helena Laasjärvi" userId="147922e0-9e4e-413c-924b-93f8f61c2127" providerId="ADAL" clId="{9EB1FEAE-4DFC-4780-9121-5C9A918FDF93}" dt="2022-03-21T15:41:17.865" v="587" actId="18245"/>
          <ac:spMkLst>
            <pc:docMk/>
            <pc:sldMk cId="1562593503" sldId="297"/>
            <ac:spMk id="11" creationId="{87B46C91-CED5-4E9D-95AC-D46AA16186FC}"/>
          </ac:spMkLst>
        </pc:spChg>
        <pc:spChg chg="mod">
          <ac:chgData name="Helena Laasjärvi" userId="147922e0-9e4e-413c-924b-93f8f61c2127" providerId="ADAL" clId="{9EB1FEAE-4DFC-4780-9121-5C9A918FDF93}" dt="2022-03-21T15:41:17.865" v="587" actId="18245"/>
          <ac:spMkLst>
            <pc:docMk/>
            <pc:sldMk cId="1562593503" sldId="297"/>
            <ac:spMk id="12" creationId="{4080B25C-2070-4E83-8CD2-E3564B4FF6BB}"/>
          </ac:spMkLst>
        </pc:spChg>
        <pc:spChg chg="mod">
          <ac:chgData name="Helena Laasjärvi" userId="147922e0-9e4e-413c-924b-93f8f61c2127" providerId="ADAL" clId="{9EB1FEAE-4DFC-4780-9121-5C9A918FDF93}" dt="2022-03-21T15:41:05.181" v="526" actId="18245"/>
          <ac:spMkLst>
            <pc:docMk/>
            <pc:sldMk cId="1562593503" sldId="297"/>
            <ac:spMk id="13" creationId="{4ACB3745-147D-4A5E-8275-B570836589EB}"/>
          </ac:spMkLst>
        </pc:spChg>
        <pc:spChg chg="mod">
          <ac:chgData name="Helena Laasjärvi" userId="147922e0-9e4e-413c-924b-93f8f61c2127" providerId="ADAL" clId="{9EB1FEAE-4DFC-4780-9121-5C9A918FDF93}" dt="2022-03-21T15:43:10.252" v="642" actId="207"/>
          <ac:spMkLst>
            <pc:docMk/>
            <pc:sldMk cId="1562593503" sldId="297"/>
            <ac:spMk id="16" creationId="{F734967B-30AA-4246-BD50-38D955EFAAC6}"/>
          </ac:spMkLst>
        </pc:spChg>
        <pc:spChg chg="del mod">
          <ac:chgData name="Helena Laasjärvi" userId="147922e0-9e4e-413c-924b-93f8f61c2127" providerId="ADAL" clId="{9EB1FEAE-4DFC-4780-9121-5C9A918FDF93}" dt="2022-03-21T15:42:01.645" v="635" actId="478"/>
          <ac:spMkLst>
            <pc:docMk/>
            <pc:sldMk cId="1562593503" sldId="297"/>
            <ac:spMk id="17" creationId="{27682823-9157-492D-93AE-BF28F5E488DB}"/>
          </ac:spMkLst>
        </pc:spChg>
        <pc:spChg chg="mod">
          <ac:chgData name="Helena Laasjärvi" userId="147922e0-9e4e-413c-924b-93f8f61c2127" providerId="ADAL" clId="{9EB1FEAE-4DFC-4780-9121-5C9A918FDF93}" dt="2022-03-21T15:41:26.075" v="588" actId="18245"/>
          <ac:spMkLst>
            <pc:docMk/>
            <pc:sldMk cId="1562593503" sldId="297"/>
            <ac:spMk id="18" creationId="{AB56FB16-789E-4B48-B342-F6529DB0A46F}"/>
          </ac:spMkLst>
        </pc:spChg>
        <pc:spChg chg="mod">
          <ac:chgData name="Helena Laasjärvi" userId="147922e0-9e4e-413c-924b-93f8f61c2127" providerId="ADAL" clId="{9EB1FEAE-4DFC-4780-9121-5C9A918FDF93}" dt="2022-03-21T15:43:25.321" v="644" actId="207"/>
          <ac:spMkLst>
            <pc:docMk/>
            <pc:sldMk cId="1562593503" sldId="297"/>
            <ac:spMk id="19" creationId="{93B360BC-CB72-4699-B115-345EB20C28AA}"/>
          </ac:spMkLst>
        </pc:spChg>
        <pc:spChg chg="mod">
          <ac:chgData name="Helena Laasjärvi" userId="147922e0-9e4e-413c-924b-93f8f61c2127" providerId="ADAL" clId="{9EB1FEAE-4DFC-4780-9121-5C9A918FDF93}" dt="2022-03-21T15:42:15.152" v="637" actId="1076"/>
          <ac:spMkLst>
            <pc:docMk/>
            <pc:sldMk cId="1562593503" sldId="297"/>
            <ac:spMk id="20" creationId="{B0361419-AD48-4481-8C62-F9CB6ED9DE9C}"/>
          </ac:spMkLst>
        </pc:spChg>
        <pc:spChg chg="mod">
          <ac:chgData name="Helena Laasjärvi" userId="147922e0-9e4e-413c-924b-93f8f61c2127" providerId="ADAL" clId="{9EB1FEAE-4DFC-4780-9121-5C9A918FDF93}" dt="2022-03-21T15:41:26.075" v="588" actId="18245"/>
          <ac:spMkLst>
            <pc:docMk/>
            <pc:sldMk cId="1562593503" sldId="297"/>
            <ac:spMk id="21" creationId="{6E1DC7A1-9566-4DD8-8CE4-9DAE66688A6C}"/>
          </ac:spMkLst>
        </pc:spChg>
        <pc:spChg chg="del">
          <ac:chgData name="Helena Laasjärvi" userId="147922e0-9e4e-413c-924b-93f8f61c2127" providerId="ADAL" clId="{9EB1FEAE-4DFC-4780-9121-5C9A918FDF93}" dt="2022-03-21T15:36:50.118" v="511" actId="26606"/>
          <ac:spMkLst>
            <pc:docMk/>
            <pc:sldMk cId="1562593503" sldId="297"/>
            <ac:spMk id="22" creationId="{257363FD-7E77-4145-9483-331A807ADF0E}"/>
          </ac:spMkLst>
        </pc:spChg>
        <pc:spChg chg="mod">
          <ac:chgData name="Helena Laasjärvi" userId="147922e0-9e4e-413c-924b-93f8f61c2127" providerId="ADAL" clId="{9EB1FEAE-4DFC-4780-9121-5C9A918FDF93}" dt="2022-03-21T15:42:53.358" v="641" actId="14100"/>
          <ac:spMkLst>
            <pc:docMk/>
            <pc:sldMk cId="1562593503" sldId="297"/>
            <ac:spMk id="23" creationId="{3D2C3D0A-7C34-40DD-851C-0DC3E80D9246}"/>
          </ac:spMkLst>
        </pc:spChg>
        <pc:spChg chg="add mod">
          <ac:chgData name="Helena Laasjärvi" userId="147922e0-9e4e-413c-924b-93f8f61c2127" providerId="ADAL" clId="{9EB1FEAE-4DFC-4780-9121-5C9A918FDF93}" dt="2022-03-21T15:42:19.041" v="638" actId="1076"/>
          <ac:spMkLst>
            <pc:docMk/>
            <pc:sldMk cId="1562593503" sldId="297"/>
            <ac:spMk id="26" creationId="{C84048A5-F9C2-4747-AF05-7D81EDBB14DD}"/>
          </ac:spMkLst>
        </pc:spChg>
        <pc:spChg chg="add mod ord">
          <ac:chgData name="Helena Laasjärvi" userId="147922e0-9e4e-413c-924b-93f8f61c2127" providerId="ADAL" clId="{9EB1FEAE-4DFC-4780-9121-5C9A918FDF93}" dt="2022-03-21T15:41:36.509" v="617"/>
          <ac:spMkLst>
            <pc:docMk/>
            <pc:sldMk cId="1562593503" sldId="297"/>
            <ac:spMk id="27" creationId="{B50AB553-2A96-4A92-96F2-93548E096954}"/>
          </ac:spMkLst>
        </pc:spChg>
        <pc:grpChg chg="mod ord">
          <ac:chgData name="Helena Laasjärvi" userId="147922e0-9e4e-413c-924b-93f8f61c2127" providerId="ADAL" clId="{9EB1FEAE-4DFC-4780-9121-5C9A918FDF93}" dt="2022-03-21T15:41:17.865" v="587" actId="18245"/>
          <ac:grpSpMkLst>
            <pc:docMk/>
            <pc:sldMk cId="1562593503" sldId="297"/>
            <ac:grpSpMk id="2" creationId="{6C6BE4FA-A040-49AA-BA3B-05BEEAD30571}"/>
          </ac:grpSpMkLst>
        </pc:grpChg>
        <pc:grpChg chg="mod ord">
          <ac:chgData name="Helena Laasjärvi" userId="147922e0-9e4e-413c-924b-93f8f61c2127" providerId="ADAL" clId="{9EB1FEAE-4DFC-4780-9121-5C9A918FDF93}" dt="2022-03-21T15:41:54.469" v="633" actId="1076"/>
          <ac:grpSpMkLst>
            <pc:docMk/>
            <pc:sldMk cId="1562593503" sldId="297"/>
            <ac:grpSpMk id="15" creationId="{F9CBE80E-00D4-40B8-848F-C225F02BF411}"/>
          </ac:grpSpMkLst>
        </pc:grpChg>
        <pc:graphicFrameChg chg="add del mod modGraphic">
          <ac:chgData name="Helena Laasjärvi" userId="147922e0-9e4e-413c-924b-93f8f61c2127" providerId="ADAL" clId="{9EB1FEAE-4DFC-4780-9121-5C9A918FDF93}" dt="2022-03-21T15:41:26.075" v="588" actId="18245"/>
          <ac:graphicFrameMkLst>
            <pc:docMk/>
            <pc:sldMk cId="1562593503" sldId="297"/>
            <ac:graphicFrameMk id="8" creationId="{B936F7B1-E20A-3AF0-9D08-1FF576802789}"/>
          </ac:graphicFrameMkLst>
        </pc:graphicFrameChg>
        <pc:graphicFrameChg chg="add del mod ord modVis">
          <ac:chgData name="Helena Laasjärvi" userId="147922e0-9e4e-413c-924b-93f8f61c2127" providerId="ADAL" clId="{9EB1FEAE-4DFC-4780-9121-5C9A918FDF93}" dt="2022-03-21T15:41:17.178" v="586"/>
          <ac:graphicFrameMkLst>
            <pc:docMk/>
            <pc:sldMk cId="1562593503" sldId="297"/>
            <ac:graphicFrameMk id="14" creationId="{A368508D-CAD8-4258-8BCA-48131DA1B77E}"/>
          </ac:graphicFrameMkLst>
        </pc:graphicFrameChg>
        <pc:graphicFrameChg chg="add mod ord modVis">
          <ac:chgData name="Helena Laasjärvi" userId="147922e0-9e4e-413c-924b-93f8f61c2127" providerId="ADAL" clId="{9EB1FEAE-4DFC-4780-9121-5C9A918FDF93}" dt="2022-03-21T15:41:36.509" v="625"/>
          <ac:graphicFrameMkLst>
            <pc:docMk/>
            <pc:sldMk cId="1562593503" sldId="297"/>
            <ac:graphicFrameMk id="24" creationId="{340F779C-1E35-47B4-8508-0F1448D53167}"/>
          </ac:graphicFrameMkLst>
        </pc:graphicFrameChg>
        <pc:picChg chg="mod ord">
          <ac:chgData name="Helena Laasjärvi" userId="147922e0-9e4e-413c-924b-93f8f61c2127" providerId="ADAL" clId="{9EB1FEAE-4DFC-4780-9121-5C9A918FDF93}" dt="2022-03-21T15:41:36.509" v="621"/>
          <ac:picMkLst>
            <pc:docMk/>
            <pc:sldMk cId="1562593503" sldId="297"/>
            <ac:picMk id="4" creationId="{DFAA2138-5CF7-4889-ACC3-41F434DA99C7}"/>
          </ac:picMkLst>
        </pc:picChg>
        <pc:picChg chg="mod ord">
          <ac:chgData name="Helena Laasjärvi" userId="147922e0-9e4e-413c-924b-93f8f61c2127" providerId="ADAL" clId="{9EB1FEAE-4DFC-4780-9121-5C9A918FDF93}" dt="2022-03-21T15:43:48.529" v="647" actId="207"/>
          <ac:picMkLst>
            <pc:docMk/>
            <pc:sldMk cId="1562593503" sldId="297"/>
            <ac:picMk id="10" creationId="{8224FBB3-9181-7BA2-6022-47C00AB31C48}"/>
          </ac:picMkLst>
        </pc:picChg>
      </pc:sldChg>
      <pc:sldChg chg="add del">
        <pc:chgData name="Helena Laasjärvi" userId="147922e0-9e4e-413c-924b-93f8f61c2127" providerId="ADAL" clId="{9EB1FEAE-4DFC-4780-9121-5C9A918FDF93}" dt="2022-03-21T15:30:07.050" v="473" actId="2890"/>
        <pc:sldMkLst>
          <pc:docMk/>
          <pc:sldMk cId="2458568747" sldId="297"/>
        </pc:sldMkLst>
      </pc:sldChg>
      <pc:sldChg chg="delSp modSp add mod setBg modClrScheme delDesignElem chgLayout">
        <pc:chgData name="Helena Laasjärvi" userId="147922e0-9e4e-413c-924b-93f8f61c2127" providerId="ADAL" clId="{9EB1FEAE-4DFC-4780-9121-5C9A918FDF93}" dt="2022-03-21T15:46:35.689" v="675" actId="255"/>
        <pc:sldMkLst>
          <pc:docMk/>
          <pc:sldMk cId="1902614847" sldId="298"/>
        </pc:sldMkLst>
        <pc:spChg chg="mod">
          <ac:chgData name="Helena Laasjärvi" userId="147922e0-9e4e-413c-924b-93f8f61c2127" providerId="ADAL" clId="{9EB1FEAE-4DFC-4780-9121-5C9A918FDF93}" dt="2022-03-21T15:46:35.689" v="675" actId="255"/>
          <ac:spMkLst>
            <pc:docMk/>
            <pc:sldMk cId="1902614847" sldId="298"/>
            <ac:spMk id="3" creationId="{F11D86D1-2E03-42E9-A372-AD660C7DB75E}"/>
          </ac:spMkLst>
        </pc:spChg>
        <pc:spChg chg="mod">
          <ac:chgData name="Helena Laasjärvi" userId="147922e0-9e4e-413c-924b-93f8f61c2127" providerId="ADAL" clId="{9EB1FEAE-4DFC-4780-9121-5C9A918FDF93}" dt="2022-03-21T15:44:14.239" v="649"/>
          <ac:spMkLst>
            <pc:docMk/>
            <pc:sldMk cId="1902614847" sldId="298"/>
            <ac:spMk id="16" creationId="{F734967B-30AA-4246-BD50-38D955EFAAC6}"/>
          </ac:spMkLst>
        </pc:spChg>
        <pc:spChg chg="mod">
          <ac:chgData name="Helena Laasjärvi" userId="147922e0-9e4e-413c-924b-93f8f61c2127" providerId="ADAL" clId="{9EB1FEAE-4DFC-4780-9121-5C9A918FDF93}" dt="2022-03-21T15:44:14.239" v="649"/>
          <ac:spMkLst>
            <pc:docMk/>
            <pc:sldMk cId="1902614847" sldId="298"/>
            <ac:spMk id="18" creationId="{AB56FB16-789E-4B48-B342-F6529DB0A46F}"/>
          </ac:spMkLst>
        </pc:spChg>
        <pc:spChg chg="mod">
          <ac:chgData name="Helena Laasjärvi" userId="147922e0-9e4e-413c-924b-93f8f61c2127" providerId="ADAL" clId="{9EB1FEAE-4DFC-4780-9121-5C9A918FDF93}" dt="2022-03-21T15:44:14.239" v="649"/>
          <ac:spMkLst>
            <pc:docMk/>
            <pc:sldMk cId="1902614847" sldId="298"/>
            <ac:spMk id="19" creationId="{93B360BC-CB72-4699-B115-345EB20C28AA}"/>
          </ac:spMkLst>
        </pc:spChg>
        <pc:spChg chg="mod">
          <ac:chgData name="Helena Laasjärvi" userId="147922e0-9e4e-413c-924b-93f8f61c2127" providerId="ADAL" clId="{9EB1FEAE-4DFC-4780-9121-5C9A918FDF93}" dt="2022-03-21T15:44:14.239" v="649"/>
          <ac:spMkLst>
            <pc:docMk/>
            <pc:sldMk cId="1902614847" sldId="298"/>
            <ac:spMk id="20" creationId="{B0361419-AD48-4481-8C62-F9CB6ED9DE9C}"/>
          </ac:spMkLst>
        </pc:spChg>
        <pc:spChg chg="mod">
          <ac:chgData name="Helena Laasjärvi" userId="147922e0-9e4e-413c-924b-93f8f61c2127" providerId="ADAL" clId="{9EB1FEAE-4DFC-4780-9121-5C9A918FDF93}" dt="2022-03-21T15:44:14.239" v="649"/>
          <ac:spMkLst>
            <pc:docMk/>
            <pc:sldMk cId="1902614847" sldId="298"/>
            <ac:spMk id="21" creationId="{6E1DC7A1-9566-4DD8-8CE4-9DAE66688A6C}"/>
          </ac:spMkLst>
        </pc:spChg>
        <pc:spChg chg="mod">
          <ac:chgData name="Helena Laasjärvi" userId="147922e0-9e4e-413c-924b-93f8f61c2127" providerId="ADAL" clId="{9EB1FEAE-4DFC-4780-9121-5C9A918FDF93}" dt="2022-03-21T15:44:14.239" v="649"/>
          <ac:spMkLst>
            <pc:docMk/>
            <pc:sldMk cId="1902614847" sldId="298"/>
            <ac:spMk id="23" creationId="{3D2C3D0A-7C34-40DD-851C-0DC3E80D9246}"/>
          </ac:spMkLst>
        </pc:spChg>
        <pc:spChg chg="mod">
          <ac:chgData name="Helena Laasjärvi" userId="147922e0-9e4e-413c-924b-93f8f61c2127" providerId="ADAL" clId="{9EB1FEAE-4DFC-4780-9121-5C9A918FDF93}" dt="2022-03-21T15:44:14.239" v="649"/>
          <ac:spMkLst>
            <pc:docMk/>
            <pc:sldMk cId="1902614847" sldId="298"/>
            <ac:spMk id="26" creationId="{C84048A5-F9C2-4747-AF05-7D81EDBB14DD}"/>
          </ac:spMkLst>
        </pc:spChg>
        <pc:spChg chg="del mod">
          <ac:chgData name="Helena Laasjärvi" userId="147922e0-9e4e-413c-924b-93f8f61c2127" providerId="ADAL" clId="{9EB1FEAE-4DFC-4780-9121-5C9A918FDF93}" dt="2022-03-21T15:46:18.094" v="673"/>
          <ac:spMkLst>
            <pc:docMk/>
            <pc:sldMk cId="1902614847" sldId="298"/>
            <ac:spMk id="27" creationId="{B50AB553-2A96-4A92-96F2-93548E096954}"/>
          </ac:spMkLst>
        </pc:spChg>
        <pc:grpChg chg="mod">
          <ac:chgData name="Helena Laasjärvi" userId="147922e0-9e4e-413c-924b-93f8f61c2127" providerId="ADAL" clId="{9EB1FEAE-4DFC-4780-9121-5C9A918FDF93}" dt="2022-03-21T15:44:14.239" v="649"/>
          <ac:grpSpMkLst>
            <pc:docMk/>
            <pc:sldMk cId="1902614847" sldId="298"/>
            <ac:grpSpMk id="1" creationId="{00000000-0000-0000-0000-000000000000}"/>
          </ac:grpSpMkLst>
        </pc:grpChg>
        <pc:grpChg chg="mod">
          <ac:chgData name="Helena Laasjärvi" userId="147922e0-9e4e-413c-924b-93f8f61c2127" providerId="ADAL" clId="{9EB1FEAE-4DFC-4780-9121-5C9A918FDF93}" dt="2022-03-21T15:44:14.239" v="649"/>
          <ac:grpSpMkLst>
            <pc:docMk/>
            <pc:sldMk cId="1902614847" sldId="298"/>
            <ac:grpSpMk id="15" creationId="{F9CBE80E-00D4-40B8-848F-C225F02BF411}"/>
          </ac:grpSpMkLst>
        </pc:grpChg>
        <pc:graphicFrameChg chg="mod">
          <ac:chgData name="Helena Laasjärvi" userId="147922e0-9e4e-413c-924b-93f8f61c2127" providerId="ADAL" clId="{9EB1FEAE-4DFC-4780-9121-5C9A918FDF93}" dt="2022-03-21T15:44:14.239" v="649"/>
          <ac:graphicFrameMkLst>
            <pc:docMk/>
            <pc:sldMk cId="1902614847" sldId="298"/>
            <ac:graphicFrameMk id="24" creationId="{340F779C-1E35-47B4-8508-0F1448D53167}"/>
          </ac:graphicFrameMkLst>
        </pc:graphicFrameChg>
        <pc:picChg chg="mod">
          <ac:chgData name="Helena Laasjärvi" userId="147922e0-9e4e-413c-924b-93f8f61c2127" providerId="ADAL" clId="{9EB1FEAE-4DFC-4780-9121-5C9A918FDF93}" dt="2022-03-21T15:44:14.239" v="649"/>
          <ac:picMkLst>
            <pc:docMk/>
            <pc:sldMk cId="1902614847" sldId="298"/>
            <ac:picMk id="4" creationId="{DFAA2138-5CF7-4889-ACC3-41F434DA99C7}"/>
          </ac:picMkLst>
        </pc:picChg>
        <pc:picChg chg="del mod">
          <ac:chgData name="Helena Laasjärvi" userId="147922e0-9e4e-413c-924b-93f8f61c2127" providerId="ADAL" clId="{9EB1FEAE-4DFC-4780-9121-5C9A918FDF93}" dt="2022-03-21T15:45:26.620" v="653" actId="478"/>
          <ac:picMkLst>
            <pc:docMk/>
            <pc:sldMk cId="1902614847" sldId="298"/>
            <ac:picMk id="10" creationId="{8224FBB3-9181-7BA2-6022-47C00AB31C48}"/>
          </ac:picMkLst>
        </pc:picChg>
      </pc:sldChg>
      <pc:sldChg chg="addSp delSp modSp add mod ord">
        <pc:chgData name="Helena Laasjärvi" userId="147922e0-9e4e-413c-924b-93f8f61c2127" providerId="ADAL" clId="{9EB1FEAE-4DFC-4780-9121-5C9A918FDF93}" dt="2022-03-21T15:48:27.615" v="732" actId="26606"/>
        <pc:sldMkLst>
          <pc:docMk/>
          <pc:sldMk cId="2781864839" sldId="299"/>
        </pc:sldMkLst>
        <pc:spChg chg="mod">
          <ac:chgData name="Helena Laasjärvi" userId="147922e0-9e4e-413c-924b-93f8f61c2127" providerId="ADAL" clId="{9EB1FEAE-4DFC-4780-9121-5C9A918FDF93}" dt="2022-03-21T15:48:27.615" v="732" actId="26606"/>
          <ac:spMkLst>
            <pc:docMk/>
            <pc:sldMk cId="2781864839" sldId="299"/>
            <ac:spMk id="10" creationId="{0AA9639B-B7E2-44C5-9CA4-50187E024E5F}"/>
          </ac:spMkLst>
        </pc:spChg>
        <pc:spChg chg="del">
          <ac:chgData name="Helena Laasjärvi" userId="147922e0-9e4e-413c-924b-93f8f61c2127" providerId="ADAL" clId="{9EB1FEAE-4DFC-4780-9121-5C9A918FDF93}" dt="2022-03-21T15:48:03.609" v="728" actId="26606"/>
          <ac:spMkLst>
            <pc:docMk/>
            <pc:sldMk cId="2781864839" sldId="299"/>
            <ac:spMk id="59" creationId="{3C54F4CE-85F0-46ED-80DA-9518C9251AD1}"/>
          </ac:spMkLst>
        </pc:spChg>
        <pc:spChg chg="del">
          <ac:chgData name="Helena Laasjärvi" userId="147922e0-9e4e-413c-924b-93f8f61c2127" providerId="ADAL" clId="{9EB1FEAE-4DFC-4780-9121-5C9A918FDF93}" dt="2022-03-21T15:48:03.609" v="728" actId="26606"/>
          <ac:spMkLst>
            <pc:docMk/>
            <pc:sldMk cId="2781864839" sldId="299"/>
            <ac:spMk id="61" creationId="{DADD1FCA-8ACB-4958-81DD-4CDD6D3E1921}"/>
          </ac:spMkLst>
        </pc:spChg>
        <pc:spChg chg="add del">
          <ac:chgData name="Helena Laasjärvi" userId="147922e0-9e4e-413c-924b-93f8f61c2127" providerId="ADAL" clId="{9EB1FEAE-4DFC-4780-9121-5C9A918FDF93}" dt="2022-03-21T15:48:27.615" v="732" actId="26606"/>
          <ac:spMkLst>
            <pc:docMk/>
            <pc:sldMk cId="2781864839" sldId="299"/>
            <ac:spMk id="66" creationId="{3C54F4CE-85F0-46ED-80DA-9518C9251AD1}"/>
          </ac:spMkLst>
        </pc:spChg>
        <pc:spChg chg="add del">
          <ac:chgData name="Helena Laasjärvi" userId="147922e0-9e4e-413c-924b-93f8f61c2127" providerId="ADAL" clId="{9EB1FEAE-4DFC-4780-9121-5C9A918FDF93}" dt="2022-03-21T15:48:27.615" v="732" actId="26606"/>
          <ac:spMkLst>
            <pc:docMk/>
            <pc:sldMk cId="2781864839" sldId="299"/>
            <ac:spMk id="68" creationId="{DADD1FCA-8ACB-4958-81DD-4CDD6D3E1921}"/>
          </ac:spMkLst>
        </pc:spChg>
        <pc:spChg chg="add">
          <ac:chgData name="Helena Laasjärvi" userId="147922e0-9e4e-413c-924b-93f8f61c2127" providerId="ADAL" clId="{9EB1FEAE-4DFC-4780-9121-5C9A918FDF93}" dt="2022-03-21T15:48:27.615" v="732" actId="26606"/>
          <ac:spMkLst>
            <pc:docMk/>
            <pc:sldMk cId="2781864839" sldId="299"/>
            <ac:spMk id="73" creationId="{3C54F4CE-85F0-46ED-80DA-9518C9251AD1}"/>
          </ac:spMkLst>
        </pc:spChg>
        <pc:spChg chg="add">
          <ac:chgData name="Helena Laasjärvi" userId="147922e0-9e4e-413c-924b-93f8f61c2127" providerId="ADAL" clId="{9EB1FEAE-4DFC-4780-9121-5C9A918FDF93}" dt="2022-03-21T15:48:27.615" v="732" actId="26606"/>
          <ac:spMkLst>
            <pc:docMk/>
            <pc:sldMk cId="2781864839" sldId="299"/>
            <ac:spMk id="75" creationId="{DADD1FCA-8ACB-4958-81DD-4CDD6D3E1921}"/>
          </ac:spMkLst>
        </pc:spChg>
        <pc:picChg chg="add mod ord">
          <ac:chgData name="Helena Laasjärvi" userId="147922e0-9e4e-413c-924b-93f8f61c2127" providerId="ADAL" clId="{9EB1FEAE-4DFC-4780-9121-5C9A918FDF93}" dt="2022-03-21T15:48:16.667" v="729" actId="27614"/>
          <ac:picMkLst>
            <pc:docMk/>
            <pc:sldMk cId="2781864839" sldId="299"/>
            <ac:picMk id="5" creationId="{7FE8D52A-D04E-410A-AA73-2712864DFA85}"/>
          </ac:picMkLst>
        </pc:picChg>
        <pc:picChg chg="del">
          <ac:chgData name="Helena Laasjärvi" userId="147922e0-9e4e-413c-924b-93f8f61c2127" providerId="ADAL" clId="{9EB1FEAE-4DFC-4780-9121-5C9A918FDF93}" dt="2022-03-21T15:47:55.317" v="724" actId="478"/>
          <ac:picMkLst>
            <pc:docMk/>
            <pc:sldMk cId="2781864839" sldId="299"/>
            <ac:picMk id="9" creationId="{BDBC66E5-725B-470A-8217-3BD964E64204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1600-luku : Solu löytyi sattumalta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02A7D0F6-131D-44CE-80AC-B0B854954DDE}">
      <dgm:prSet/>
      <dgm:spPr/>
      <dgm:t>
        <a:bodyPr/>
        <a:lstStyle/>
        <a:p>
          <a:endParaRPr lang="en-US" dirty="0"/>
        </a:p>
      </dgm:t>
    </dgm:pt>
    <dgm:pt modelId="{96E889C3-7424-4AFF-AD66-EAECA8BF7665}" type="parTrans" cxnId="{C6AAAB8F-5DEB-494A-8715-FE79DE6CF53D}">
      <dgm:prSet/>
      <dgm:spPr/>
      <dgm:t>
        <a:bodyPr/>
        <a:lstStyle/>
        <a:p>
          <a:endParaRPr lang="en-US"/>
        </a:p>
      </dgm:t>
    </dgm:pt>
    <dgm:pt modelId="{47225295-4B31-4BB4-8616-74B942D2488B}" type="sibTrans" cxnId="{C6AAAB8F-5DEB-494A-8715-FE79DE6CF53D}">
      <dgm:prSet/>
      <dgm:spPr/>
      <dgm:t>
        <a:bodyPr/>
        <a:lstStyle/>
        <a:p>
          <a:endParaRPr lang="en-US"/>
        </a:p>
      </dgm:t>
    </dgm:pt>
    <dgm:pt modelId="{66A3DEA6-B413-49D4-8F8B-3EB9918F5B34}">
      <dgm:prSet/>
      <dgm:spPr/>
      <dgm:t>
        <a:bodyPr/>
        <a:lstStyle/>
        <a:p>
          <a:r>
            <a:rPr lang="fi-FI" dirty="0">
              <a:sym typeface="Wingdings"/>
            </a:rPr>
            <a:t>Solubiologian kehitys alkoi</a:t>
          </a:r>
          <a:endParaRPr lang="en-US" dirty="0"/>
        </a:p>
      </dgm:t>
    </dgm:pt>
    <dgm:pt modelId="{72BC6597-3394-4DCD-AAC9-72F36F9FC77A}" type="sibTrans" cxnId="{3D4426CC-2A19-46DC-A994-701314CF7E80}">
      <dgm:prSet/>
      <dgm:spPr/>
      <dgm:t>
        <a:bodyPr/>
        <a:lstStyle/>
        <a:p>
          <a:endParaRPr lang="en-US"/>
        </a:p>
      </dgm:t>
    </dgm:pt>
    <dgm:pt modelId="{1226841E-3C4E-4793-AEAC-80BA108E54F1}" type="parTrans" cxnId="{3D4426CC-2A19-46DC-A994-701314CF7E80}">
      <dgm:prSet/>
      <dgm:spPr/>
      <dgm:t>
        <a:bodyPr/>
        <a:lstStyle/>
        <a:p>
          <a:endParaRPr lang="en-US"/>
        </a:p>
      </dgm:t>
    </dgm:pt>
    <dgm:pt modelId="{3CF7D86E-E6B4-4391-9E9E-B7D36B437025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1800-luku : Soluissa on tuma, eliöt koostuvat soluista, tumassa on kromosomeja</a:t>
          </a:r>
          <a:endParaRPr lang="en-US" dirty="0"/>
        </a:p>
      </dgm:t>
    </dgm:pt>
    <dgm:pt modelId="{18D45F16-2F8B-44D2-92B4-C4F3E4247E1A}" type="sibTrans" cxnId="{D3F4FF08-8A68-4FFE-B749-2D2F28A90751}">
      <dgm:prSet/>
      <dgm:spPr/>
      <dgm:t>
        <a:bodyPr/>
        <a:lstStyle/>
        <a:p>
          <a:endParaRPr lang="en-US"/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B76DB791-43C0-485C-9616-DA9883D2B1EE}">
      <dgm:prSet/>
      <dgm:spPr>
        <a:solidFill>
          <a:srgbClr val="F6A8CB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i-FI" dirty="0"/>
            <a:t>1900-luku : DNA ja geenit</a:t>
          </a:r>
          <a:endParaRPr lang="en-US" dirty="0"/>
        </a:p>
      </dgm:t>
    </dgm:pt>
    <dgm:pt modelId="{7D32487C-43C8-417C-8E92-EA8D0DBBAFBC}" type="parTrans" cxnId="{731088DB-B0D5-49B4-A1CB-CF315FFDBE86}">
      <dgm:prSet/>
      <dgm:spPr/>
      <dgm:t>
        <a:bodyPr/>
        <a:lstStyle/>
        <a:p>
          <a:endParaRPr lang="fi-FI"/>
        </a:p>
      </dgm:t>
    </dgm:pt>
    <dgm:pt modelId="{FBFB9735-A86A-429D-AF1A-828A949E6EA0}" type="sibTrans" cxnId="{731088DB-B0D5-49B4-A1CB-CF315FFDBE86}">
      <dgm:prSet/>
      <dgm:spPr/>
      <dgm:t>
        <a:bodyPr/>
        <a:lstStyle/>
        <a:p>
          <a:endParaRPr lang="fi-FI"/>
        </a:p>
      </dgm:t>
    </dgm:pt>
    <dgm:pt modelId="{12C49B58-FE3E-49A9-9F2E-785897265515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 dirty="0">
              <a:sym typeface="Wingdings"/>
            </a:rPr>
            <a:t>mikrobiologia, perinnöllisyystiede, geenitekniikka</a:t>
          </a:r>
          <a:endParaRPr lang="en-US" dirty="0"/>
        </a:p>
      </dgm:t>
    </dgm:pt>
    <dgm:pt modelId="{0E7452AA-B6D0-452F-A0BC-2FF968B6BBB6}" type="parTrans" cxnId="{D98673AD-B68A-4B03-905E-0FC4FAF8F2AB}">
      <dgm:prSet/>
      <dgm:spPr/>
      <dgm:t>
        <a:bodyPr/>
        <a:lstStyle/>
        <a:p>
          <a:endParaRPr lang="fi-FI"/>
        </a:p>
      </dgm:t>
    </dgm:pt>
    <dgm:pt modelId="{F7A4F274-2C18-4FC6-ABBF-444359C45A4A}" type="sibTrans" cxnId="{D98673AD-B68A-4B03-905E-0FC4FAF8F2AB}">
      <dgm:prSet/>
      <dgm:spPr/>
      <dgm:t>
        <a:bodyPr/>
        <a:lstStyle/>
        <a:p>
          <a:endParaRPr lang="fi-FI"/>
        </a:p>
      </dgm:t>
    </dgm:pt>
    <dgm:pt modelId="{3A60142E-8568-4F4D-9E29-E28C7536B91A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5C7C4E3F-33A1-4D36-853D-2D0906782B37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14B2DE6-1C77-481B-A48C-9BCB5E9EF58A}" type="pres">
      <dgm:prSet presAssocID="{7BC353A9-2E9A-4B42-B9DF-3904A72B6A0E}" presName="childText" presStyleLbl="revTx" presStyleIdx="0" presStyleCnt="3">
        <dgm:presLayoutVars>
          <dgm:bulletEnabled val="1"/>
        </dgm:presLayoutVars>
      </dgm:prSet>
      <dgm:spPr/>
    </dgm:pt>
    <dgm:pt modelId="{52D7F6CF-B74D-418B-9EAD-F5008DA58625}" type="pres">
      <dgm:prSet presAssocID="{3CF7D86E-E6B4-4391-9E9E-B7D36B437025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DB04A4E0-AEC8-4110-8BB1-22BC73F2F761}" type="pres">
      <dgm:prSet presAssocID="{3CF7D86E-E6B4-4391-9E9E-B7D36B437025}" presName="childText" presStyleLbl="revTx" presStyleIdx="1" presStyleCnt="3">
        <dgm:presLayoutVars>
          <dgm:bulletEnabled val="1"/>
        </dgm:presLayoutVars>
      </dgm:prSet>
      <dgm:spPr/>
    </dgm:pt>
    <dgm:pt modelId="{81B48A4B-FFF3-46B3-9801-FF0769612DBB}" type="pres">
      <dgm:prSet presAssocID="{B76DB791-43C0-485C-9616-DA9883D2B1EE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4103F557-6FF1-49BF-9563-0B2022227EDD}" type="pres">
      <dgm:prSet presAssocID="{B76DB791-43C0-485C-9616-DA9883D2B1E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ACFE203F-2B0F-480B-90F3-C383FDF83975}" type="presOf" srcId="{02A7D0F6-131D-44CE-80AC-B0B854954DDE}" destId="{314B2DE6-1C77-481B-A48C-9BCB5E9EF58A}" srcOrd="0" destOrd="0" presId="urn:microsoft.com/office/officeart/2005/8/layout/vList2"/>
    <dgm:cxn modelId="{D6F0B563-1FF7-41DD-9A38-B819CBE74CE4}" type="presOf" srcId="{7BC353A9-2E9A-4B42-B9DF-3904A72B6A0E}" destId="{5C7C4E3F-33A1-4D36-853D-2D0906782B37}" srcOrd="0" destOrd="0" presId="urn:microsoft.com/office/officeart/2005/8/layout/vList2"/>
    <dgm:cxn modelId="{EC50FE74-5C7F-433A-B7AD-2835501F0508}" type="presOf" srcId="{005063B7-85D1-441D-87C6-864638207FCC}" destId="{3A60142E-8568-4F4D-9E29-E28C7536B91A}" srcOrd="0" destOrd="0" presId="urn:microsoft.com/office/officeart/2005/8/layout/vList2"/>
    <dgm:cxn modelId="{1986CB5A-F42E-4908-ACE3-B97EE1835612}" type="presOf" srcId="{66A3DEA6-B413-49D4-8F8B-3EB9918F5B34}" destId="{DB04A4E0-AEC8-4110-8BB1-22BC73F2F761}" srcOrd="0" destOrd="0" presId="urn:microsoft.com/office/officeart/2005/8/layout/vList2"/>
    <dgm:cxn modelId="{C6AAAB8F-5DEB-494A-8715-FE79DE6CF53D}" srcId="{7BC353A9-2E9A-4B42-B9DF-3904A72B6A0E}" destId="{02A7D0F6-131D-44CE-80AC-B0B854954DDE}" srcOrd="0" destOrd="0" parTransId="{96E889C3-7424-4AFF-AD66-EAECA8BF7665}" sibTransId="{47225295-4B31-4BB4-8616-74B942D2488B}"/>
    <dgm:cxn modelId="{AE17A49C-547C-4584-B405-8FA4889692CD}" type="presOf" srcId="{B76DB791-43C0-485C-9616-DA9883D2B1EE}" destId="{81B48A4B-FFF3-46B3-9801-FF0769612DBB}" srcOrd="0" destOrd="0" presId="urn:microsoft.com/office/officeart/2005/8/layout/vList2"/>
    <dgm:cxn modelId="{D98673AD-B68A-4B03-905E-0FC4FAF8F2AB}" srcId="{B76DB791-43C0-485C-9616-DA9883D2B1EE}" destId="{12C49B58-FE3E-49A9-9F2E-785897265515}" srcOrd="0" destOrd="0" parTransId="{0E7452AA-B6D0-452F-A0BC-2FF968B6BBB6}" sibTransId="{F7A4F274-2C18-4FC6-ABBF-444359C45A4A}"/>
    <dgm:cxn modelId="{3D4426CC-2A19-46DC-A994-701314CF7E80}" srcId="{3CF7D86E-E6B4-4391-9E9E-B7D36B437025}" destId="{66A3DEA6-B413-49D4-8F8B-3EB9918F5B34}" srcOrd="0" destOrd="0" parTransId="{1226841E-3C4E-4793-AEAC-80BA108E54F1}" sibTransId="{72BC6597-3394-4DCD-AAC9-72F36F9FC77A}"/>
    <dgm:cxn modelId="{731088DB-B0D5-49B4-A1CB-CF315FFDBE86}" srcId="{005063B7-85D1-441D-87C6-864638207FCC}" destId="{B76DB791-43C0-485C-9616-DA9883D2B1EE}" srcOrd="2" destOrd="0" parTransId="{7D32487C-43C8-417C-8E92-EA8D0DBBAFBC}" sibTransId="{FBFB9735-A86A-429D-AF1A-828A949E6EA0}"/>
    <dgm:cxn modelId="{3571F3E1-C835-4C76-80F8-34FC18CB2A0D}" type="presOf" srcId="{3CF7D86E-E6B4-4391-9E9E-B7D36B437025}" destId="{52D7F6CF-B74D-418B-9EAD-F5008DA58625}" srcOrd="0" destOrd="0" presId="urn:microsoft.com/office/officeart/2005/8/layout/vList2"/>
    <dgm:cxn modelId="{14DB2DF6-FCEA-4184-8173-9890D2F6F314}" type="presOf" srcId="{12C49B58-FE3E-49A9-9F2E-785897265515}" destId="{4103F557-6FF1-49BF-9563-0B2022227EDD}" srcOrd="0" destOrd="0" presId="urn:microsoft.com/office/officeart/2005/8/layout/vList2"/>
    <dgm:cxn modelId="{559FC9BF-A059-45CA-A31E-750F46E09117}" type="presParOf" srcId="{3A60142E-8568-4F4D-9E29-E28C7536B91A}" destId="{5C7C4E3F-33A1-4D36-853D-2D0906782B37}" srcOrd="0" destOrd="0" presId="urn:microsoft.com/office/officeart/2005/8/layout/vList2"/>
    <dgm:cxn modelId="{381669C2-1FE2-4D51-BF66-9E4C7C7AA6F4}" type="presParOf" srcId="{3A60142E-8568-4F4D-9E29-E28C7536B91A}" destId="{314B2DE6-1C77-481B-A48C-9BCB5E9EF58A}" srcOrd="1" destOrd="0" presId="urn:microsoft.com/office/officeart/2005/8/layout/vList2"/>
    <dgm:cxn modelId="{B7A9243D-EC27-4360-94CF-AB6F423EE005}" type="presParOf" srcId="{3A60142E-8568-4F4D-9E29-E28C7536B91A}" destId="{52D7F6CF-B74D-418B-9EAD-F5008DA58625}" srcOrd="2" destOrd="0" presId="urn:microsoft.com/office/officeart/2005/8/layout/vList2"/>
    <dgm:cxn modelId="{88A2FB70-3CA1-4C1C-B906-B5376E44DD0A}" type="presParOf" srcId="{3A60142E-8568-4F4D-9E29-E28C7536B91A}" destId="{DB04A4E0-AEC8-4110-8BB1-22BC73F2F761}" srcOrd="3" destOrd="0" presId="urn:microsoft.com/office/officeart/2005/8/layout/vList2"/>
    <dgm:cxn modelId="{05598047-0833-449B-8B0A-8419345F8027}" type="presParOf" srcId="{3A60142E-8568-4F4D-9E29-E28C7536B91A}" destId="{81B48A4B-FFF3-46B3-9801-FF0769612DBB}" srcOrd="4" destOrd="0" presId="urn:microsoft.com/office/officeart/2005/8/layout/vList2"/>
    <dgm:cxn modelId="{4448175F-68C5-4465-B12B-9E7DA0C4EF5E}" type="presParOf" srcId="{3A60142E-8568-4F4D-9E29-E28C7536B91A}" destId="{4103F557-6FF1-49BF-9563-0B2022227EDD}" srcOrd="5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Yksisoluiset eliöt: mm. </a:t>
          </a:r>
          <a:r>
            <a:rPr lang="fi-FI" dirty="0" err="1"/>
            <a:t>arkeonit</a:t>
          </a:r>
          <a:r>
            <a:rPr lang="fi-FI" dirty="0"/>
            <a:t>, bakteerit, sieniin kuuluvat hiivat, yksisoluiset levät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3CF7D86E-E6B4-4391-9E9E-B7D36B437025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Monisoluiset eliöt: mm. eläimet, vihreät kasvit, sienet</a:t>
          </a:r>
          <a:endParaRPr lang="en-US" dirty="0"/>
        </a:p>
      </dgm:t>
    </dgm:pt>
    <dgm:pt modelId="{18D45F16-2F8B-44D2-92B4-C4F3E4247E1A}" type="sibTrans" cxnId="{D3F4FF08-8A68-4FFE-B749-2D2F28A90751}">
      <dgm:prSet/>
      <dgm:spPr/>
      <dgm:t>
        <a:bodyPr/>
        <a:lstStyle/>
        <a:p>
          <a:endParaRPr lang="en-US"/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E5AE1F70-6CC6-4047-816B-171E71109FA1}">
      <dgm:prSet/>
      <dgm:spPr>
        <a:noFill/>
      </dgm:spPr>
      <dgm:t>
        <a:bodyPr/>
        <a:lstStyle/>
        <a:p>
          <a:pPr>
            <a:buFont typeface="Arial" charset="0"/>
            <a:buNone/>
          </a:pPr>
          <a:r>
            <a:rPr lang="fi-FI" dirty="0"/>
            <a:t>Viruksia ei luokitella eliökuntaan kuuluviksi </a:t>
          </a:r>
          <a:endParaRPr lang="en-US" dirty="0"/>
        </a:p>
      </dgm:t>
    </dgm:pt>
    <dgm:pt modelId="{F2FCC927-A5E0-4CD7-ADD4-E8499860DE1E}" type="parTrans" cxnId="{A3FC0F01-49F9-44E4-8CF0-225187DCE8F2}">
      <dgm:prSet/>
      <dgm:spPr/>
      <dgm:t>
        <a:bodyPr/>
        <a:lstStyle/>
        <a:p>
          <a:endParaRPr lang="fi-FI"/>
        </a:p>
      </dgm:t>
    </dgm:pt>
    <dgm:pt modelId="{7754D56D-B68F-4B2D-A7B1-F571EB5282CB}" type="sibTrans" cxnId="{A3FC0F01-49F9-44E4-8CF0-225187DCE8F2}">
      <dgm:prSet/>
      <dgm:spPr/>
      <dgm:t>
        <a:bodyPr/>
        <a:lstStyle/>
        <a:p>
          <a:endParaRPr lang="fi-FI"/>
        </a:p>
      </dgm:t>
    </dgm:pt>
    <dgm:pt modelId="{CFD8F1DF-3BAC-49CB-A796-4E47F5DFF390}">
      <dgm:prSet custT="1"/>
      <dgm:spPr>
        <a:solidFill>
          <a:srgbClr val="EC008C"/>
        </a:solidFill>
      </dgm:spPr>
      <dgm:t>
        <a:bodyPr/>
        <a:lstStyle/>
        <a:p>
          <a:pPr>
            <a:buFont typeface="Arial" panose="020B0604020202020204" pitchFamily="34" charset="0"/>
            <a:buNone/>
          </a:pPr>
          <a:r>
            <a:rPr lang="fi-FI" sz="1800" dirty="0"/>
            <a:t>Yksisoluisuus</a:t>
          </a:r>
          <a:r>
            <a:rPr lang="fi-FI" sz="1800" dirty="0">
              <a:ea typeface="+mn-lt"/>
              <a:cs typeface="+mn-lt"/>
            </a:rPr>
            <a:t> </a:t>
          </a:r>
          <a:r>
            <a:rPr lang="mr-IN" sz="1800" dirty="0">
              <a:ea typeface="+mn-lt"/>
              <a:cs typeface="+mn-lt"/>
            </a:rPr>
            <a:t>→</a:t>
          </a:r>
          <a:r>
            <a:rPr lang="fi-FI" sz="1800" dirty="0"/>
            <a:t> solurykelmät</a:t>
          </a:r>
          <a:r>
            <a:rPr lang="fi-FI" sz="1800" dirty="0">
              <a:ea typeface="+mn-lt"/>
              <a:cs typeface="+mn-lt"/>
            </a:rPr>
            <a:t> </a:t>
          </a:r>
          <a:r>
            <a:rPr lang="mr-IN" sz="1800" dirty="0">
              <a:ea typeface="+mn-lt"/>
              <a:cs typeface="+mn-lt"/>
            </a:rPr>
            <a:t>→</a:t>
          </a:r>
          <a:r>
            <a:rPr lang="fi-FI" sz="1800" dirty="0"/>
            <a:t> solujen erikoistuminen ja solujen välinen viestintä </a:t>
          </a:r>
          <a:r>
            <a:rPr lang="mr-IN" sz="1800" dirty="0">
              <a:ea typeface="+mn-lt"/>
              <a:cs typeface="+mn-lt"/>
            </a:rPr>
            <a:t>→</a:t>
          </a:r>
          <a:r>
            <a:rPr lang="fi-FI" sz="1800" dirty="0"/>
            <a:t> monisoluisuus</a:t>
          </a:r>
          <a:endParaRPr lang="en-US" sz="1800" dirty="0"/>
        </a:p>
      </dgm:t>
    </dgm:pt>
    <dgm:pt modelId="{D0821C82-27AE-4133-B369-C27B1886C37A}" type="parTrans" cxnId="{B03C9D25-4046-4A98-A7EF-BD1631D925BE}">
      <dgm:prSet/>
      <dgm:spPr/>
      <dgm:t>
        <a:bodyPr/>
        <a:lstStyle/>
        <a:p>
          <a:endParaRPr lang="fi-FI"/>
        </a:p>
      </dgm:t>
    </dgm:pt>
    <dgm:pt modelId="{D5DBAF77-C981-4C58-BE58-72956FCE2D52}" type="sibTrans" cxnId="{B03C9D25-4046-4A98-A7EF-BD1631D925BE}">
      <dgm:prSet/>
      <dgm:spPr/>
      <dgm:t>
        <a:bodyPr/>
        <a:lstStyle/>
        <a:p>
          <a:endParaRPr lang="fi-FI"/>
        </a:p>
      </dgm:t>
    </dgm:pt>
    <dgm:pt modelId="{016C845E-4A3F-4362-890D-A40212AF2D5F}">
      <dgm:prSet/>
      <dgm:spPr>
        <a:noFill/>
      </dgm:spPr>
      <dgm:t>
        <a:bodyPr/>
        <a:lstStyle/>
        <a:p>
          <a:pPr>
            <a:buFont typeface="Arial" charset="0"/>
            <a:buNone/>
          </a:pPr>
          <a:endParaRPr lang="en-US" dirty="0"/>
        </a:p>
      </dgm:t>
    </dgm:pt>
    <dgm:pt modelId="{E616785D-BAB7-4BC9-A35C-D9C16864A365}" type="parTrans" cxnId="{ED4541D4-9D20-42E1-90D7-D2F36D2A3E56}">
      <dgm:prSet/>
      <dgm:spPr/>
      <dgm:t>
        <a:bodyPr/>
        <a:lstStyle/>
        <a:p>
          <a:endParaRPr lang="fi-FI"/>
        </a:p>
      </dgm:t>
    </dgm:pt>
    <dgm:pt modelId="{E6416750-F8AB-46E4-958E-1BD599F71B6D}" type="sibTrans" cxnId="{ED4541D4-9D20-42E1-90D7-D2F36D2A3E56}">
      <dgm:prSet/>
      <dgm:spPr/>
      <dgm:t>
        <a:bodyPr/>
        <a:lstStyle/>
        <a:p>
          <a:endParaRPr lang="fi-FI"/>
        </a:p>
      </dgm:t>
    </dgm:pt>
    <dgm:pt modelId="{E77F3D7B-7118-456E-8860-69E9840CA2F9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0EA56560-B5A2-4DA0-B807-2DFA0167A151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DEF3ECC7-D832-49C4-B0A0-785EA8338F35}" type="pres">
      <dgm:prSet presAssocID="{34A83047-F862-4DFB-A54B-26CD2997000F}" presName="spacer" presStyleCnt="0"/>
      <dgm:spPr/>
    </dgm:pt>
    <dgm:pt modelId="{E78E83B5-FB57-483F-AA75-73CC9480E533}" type="pres">
      <dgm:prSet presAssocID="{3CF7D86E-E6B4-4391-9E9E-B7D36B437025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19C5D49B-CB2F-4DE3-9B09-3D4CD2AEAB02}" type="pres">
      <dgm:prSet presAssocID="{18D45F16-2F8B-44D2-92B4-C4F3E4247E1A}" presName="spacer" presStyleCnt="0"/>
      <dgm:spPr/>
    </dgm:pt>
    <dgm:pt modelId="{C365D3C0-DB31-41F9-82BA-435EA986CB20}" type="pres">
      <dgm:prSet presAssocID="{CFD8F1DF-3BAC-49CB-A796-4E47F5DFF39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6104486A-2E8D-46BB-9818-323941B5FCE8}" type="pres">
      <dgm:prSet presAssocID="{CFD8F1DF-3BAC-49CB-A796-4E47F5DFF390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A3FC0F01-49F9-44E4-8CF0-225187DCE8F2}" srcId="{CFD8F1DF-3BAC-49CB-A796-4E47F5DFF390}" destId="{E5AE1F70-6CC6-4047-816B-171E71109FA1}" srcOrd="1" destOrd="0" parTransId="{F2FCC927-A5E0-4CD7-ADD4-E8499860DE1E}" sibTransId="{7754D56D-B68F-4B2D-A7B1-F571EB5282CB}"/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B03C9D25-4046-4A98-A7EF-BD1631D925BE}" srcId="{005063B7-85D1-441D-87C6-864638207FCC}" destId="{CFD8F1DF-3BAC-49CB-A796-4E47F5DFF390}" srcOrd="2" destOrd="0" parTransId="{D0821C82-27AE-4133-B369-C27B1886C37A}" sibTransId="{D5DBAF77-C981-4C58-BE58-72956FCE2D52}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CE813D3A-9C35-490F-890C-CBD69B567FD6}" type="presOf" srcId="{016C845E-4A3F-4362-890D-A40212AF2D5F}" destId="{6104486A-2E8D-46BB-9818-323941B5FCE8}" srcOrd="0" destOrd="0" presId="urn:microsoft.com/office/officeart/2005/8/layout/vList2"/>
    <dgm:cxn modelId="{089AD972-A2C8-4FA7-800A-6BF19451896B}" type="presOf" srcId="{005063B7-85D1-441D-87C6-864638207FCC}" destId="{E77F3D7B-7118-456E-8860-69E9840CA2F9}" srcOrd="0" destOrd="0" presId="urn:microsoft.com/office/officeart/2005/8/layout/vList2"/>
    <dgm:cxn modelId="{E84FD85A-8F7C-44E5-B8D8-006CA343A912}" type="presOf" srcId="{CFD8F1DF-3BAC-49CB-A796-4E47F5DFF390}" destId="{C365D3C0-DB31-41F9-82BA-435EA986CB20}" srcOrd="0" destOrd="0" presId="urn:microsoft.com/office/officeart/2005/8/layout/vList2"/>
    <dgm:cxn modelId="{B9B0859C-7267-4A4D-8A12-9E72B97EE696}" type="presOf" srcId="{3CF7D86E-E6B4-4391-9E9E-B7D36B437025}" destId="{E78E83B5-FB57-483F-AA75-73CC9480E533}" srcOrd="0" destOrd="0" presId="urn:microsoft.com/office/officeart/2005/8/layout/vList2"/>
    <dgm:cxn modelId="{7A6830D0-3BF9-4A6B-B095-2BF49910E449}" type="presOf" srcId="{E5AE1F70-6CC6-4047-816B-171E71109FA1}" destId="{6104486A-2E8D-46BB-9818-323941B5FCE8}" srcOrd="0" destOrd="1" presId="urn:microsoft.com/office/officeart/2005/8/layout/vList2"/>
    <dgm:cxn modelId="{ED4541D4-9D20-42E1-90D7-D2F36D2A3E56}" srcId="{CFD8F1DF-3BAC-49CB-A796-4E47F5DFF390}" destId="{016C845E-4A3F-4362-890D-A40212AF2D5F}" srcOrd="0" destOrd="0" parTransId="{E616785D-BAB7-4BC9-A35C-D9C16864A365}" sibTransId="{E6416750-F8AB-46E4-958E-1BD599F71B6D}"/>
    <dgm:cxn modelId="{0D405CFC-6750-4231-BEC7-24B2294653AE}" type="presOf" srcId="{7BC353A9-2E9A-4B42-B9DF-3904A72B6A0E}" destId="{0EA56560-B5A2-4DA0-B807-2DFA0167A151}" srcOrd="0" destOrd="0" presId="urn:microsoft.com/office/officeart/2005/8/layout/vList2"/>
    <dgm:cxn modelId="{EE6D9DE7-EC46-45FB-8297-7217234199D4}" type="presParOf" srcId="{E77F3D7B-7118-456E-8860-69E9840CA2F9}" destId="{0EA56560-B5A2-4DA0-B807-2DFA0167A151}" srcOrd="0" destOrd="0" presId="urn:microsoft.com/office/officeart/2005/8/layout/vList2"/>
    <dgm:cxn modelId="{9950D200-3D80-40A6-94F3-6D8E8F4FAC3B}" type="presParOf" srcId="{E77F3D7B-7118-456E-8860-69E9840CA2F9}" destId="{DEF3ECC7-D832-49C4-B0A0-785EA8338F35}" srcOrd="1" destOrd="0" presId="urn:microsoft.com/office/officeart/2005/8/layout/vList2"/>
    <dgm:cxn modelId="{FB049331-34DF-423D-A99B-36B52CF89CB3}" type="presParOf" srcId="{E77F3D7B-7118-456E-8860-69E9840CA2F9}" destId="{E78E83B5-FB57-483F-AA75-73CC9480E533}" srcOrd="2" destOrd="0" presId="urn:microsoft.com/office/officeart/2005/8/layout/vList2"/>
    <dgm:cxn modelId="{B48C180C-1228-4E09-8D7C-5A9745BC29B8}" type="presParOf" srcId="{E77F3D7B-7118-456E-8860-69E9840CA2F9}" destId="{19C5D49B-CB2F-4DE3-9B09-3D4CD2AEAB02}" srcOrd="3" destOrd="0" presId="urn:microsoft.com/office/officeart/2005/8/layout/vList2"/>
    <dgm:cxn modelId="{0BD90024-DDC5-4ECE-94B4-8E4C9FA32DA9}" type="presParOf" srcId="{E77F3D7B-7118-456E-8860-69E9840CA2F9}" destId="{C365D3C0-DB31-41F9-82BA-435EA986CB20}" srcOrd="4" destOrd="0" presId="urn:microsoft.com/office/officeart/2005/8/layout/vList2"/>
    <dgm:cxn modelId="{FFE1CCA7-FF31-4EF1-BB78-2EF91B3DA1EA}" type="presParOf" srcId="{E77F3D7B-7118-456E-8860-69E9840CA2F9}" destId="{6104486A-2E8D-46BB-9818-323941B5FCE8}" srcOrd="5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Koostuvat pääosin hiilestä, vedystä, typestä ja hapesta</a:t>
          </a:r>
        </a:p>
        <a:p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>
        <a:solidFill>
          <a:srgbClr val="A9A9D5">
            <a:alpha val="90000"/>
          </a:srgbClr>
        </a:solidFill>
        <a:ln>
          <a:solidFill>
            <a:srgbClr val="7030A0">
              <a:alpha val="90000"/>
            </a:srgbClr>
          </a:solidFill>
        </a:ln>
      </dgm:spPr>
      <dgm:t>
        <a:bodyPr/>
        <a:lstStyle/>
        <a:p>
          <a:endParaRPr lang="en-US"/>
        </a:p>
      </dgm:t>
    </dgm:pt>
    <dgm:pt modelId="{3CF7D86E-E6B4-4391-9E9E-B7D36B437025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Suuri pinta-ala suhteessa tilavuuteen</a:t>
          </a:r>
          <a:br>
            <a:rPr lang="fi-FI" dirty="0"/>
          </a:br>
          <a:r>
            <a:rPr lang="fi-FI" dirty="0"/>
            <a:t>	</a:t>
          </a:r>
          <a:r>
            <a:rPr lang="fi-FI" dirty="0">
              <a:sym typeface="Wingdings"/>
            </a:rPr>
            <a:t> nopea reaktiokyky 	ympäristön muutoksiin</a:t>
          </a:r>
          <a:endParaRPr lang="en-US" dirty="0"/>
        </a:p>
      </dgm:t>
    </dgm:pt>
    <dgm:pt modelId="{18D45F16-2F8B-44D2-92B4-C4F3E4247E1A}" type="sibTrans" cxnId="{D3F4FF08-8A68-4FFE-B749-2D2F28A90751}">
      <dgm:prSet/>
      <dgm:spPr>
        <a:solidFill>
          <a:srgbClr val="A9A9D5"/>
        </a:solidFill>
        <a:ln>
          <a:solidFill>
            <a:srgbClr val="7030A0">
              <a:alpha val="90000"/>
            </a:srgbClr>
          </a:solidFill>
        </a:ln>
      </dgm:spPr>
      <dgm:t>
        <a:bodyPr/>
        <a:lstStyle/>
        <a:p>
          <a:endParaRPr lang="en-US"/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B76DB791-43C0-485C-9616-DA9883D2B1EE}">
      <dgm:prSet/>
      <dgm:spPr>
        <a:solidFill>
          <a:srgbClr val="F6A8CB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i-FI" dirty="0">
              <a:sym typeface="Wingdings"/>
            </a:rPr>
            <a:t>Koko ja muoto vaihtelee</a:t>
          </a:r>
          <a:endParaRPr lang="en-US" dirty="0"/>
        </a:p>
      </dgm:t>
    </dgm:pt>
    <dgm:pt modelId="{7D32487C-43C8-417C-8E92-EA8D0DBBAFBC}" type="parTrans" cxnId="{731088DB-B0D5-49B4-A1CB-CF315FFDBE86}">
      <dgm:prSet/>
      <dgm:spPr/>
      <dgm:t>
        <a:bodyPr/>
        <a:lstStyle/>
        <a:p>
          <a:endParaRPr lang="fi-FI"/>
        </a:p>
      </dgm:t>
    </dgm:pt>
    <dgm:pt modelId="{FBFB9735-A86A-429D-AF1A-828A949E6EA0}" type="sibTrans" cxnId="{731088DB-B0D5-49B4-A1CB-CF315FFDBE86}">
      <dgm:prSet/>
      <dgm:spPr/>
      <dgm:t>
        <a:bodyPr/>
        <a:lstStyle/>
        <a:p>
          <a:endParaRPr lang="fi-FI"/>
        </a:p>
      </dgm:t>
    </dgm:pt>
    <dgm:pt modelId="{FD86600D-E5A0-48F4-BD98-187362EDFBD2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2FB19732-DBDF-4829-AB74-C56ADE14B56C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E468FB2C-8CC2-4985-B8CF-0B9A10AF1857}" type="pres">
      <dgm:prSet presAssocID="{34A83047-F862-4DFB-A54B-26CD2997000F}" presName="spacer" presStyleCnt="0"/>
      <dgm:spPr/>
    </dgm:pt>
    <dgm:pt modelId="{9824FFF1-3003-4815-B245-4B6052EDD373}" type="pres">
      <dgm:prSet presAssocID="{3CF7D86E-E6B4-4391-9E9E-B7D36B437025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9C5EBA5-362E-4AC9-BA76-322738A0A1AF}" type="pres">
      <dgm:prSet presAssocID="{18D45F16-2F8B-44D2-92B4-C4F3E4247E1A}" presName="spacer" presStyleCnt="0"/>
      <dgm:spPr/>
    </dgm:pt>
    <dgm:pt modelId="{93302375-2E69-4CB0-A497-F036008F00DD}" type="pres">
      <dgm:prSet presAssocID="{B76DB791-43C0-485C-9616-DA9883D2B1EE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A732AD30-5C08-44D6-AEE5-AD39A3D8EAEA}" type="presOf" srcId="{005063B7-85D1-441D-87C6-864638207FCC}" destId="{FD86600D-E5A0-48F4-BD98-187362EDFBD2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802F107B-1F41-44B5-AAF8-E8A9FFCF8635}" type="presOf" srcId="{7BC353A9-2E9A-4B42-B9DF-3904A72B6A0E}" destId="{2FB19732-DBDF-4829-AB74-C56ADE14B56C}" srcOrd="0" destOrd="0" presId="urn:microsoft.com/office/officeart/2005/8/layout/vList2"/>
    <dgm:cxn modelId="{53FD93A5-D9C2-4570-A8F8-4C7C6895E7E6}" type="presOf" srcId="{3CF7D86E-E6B4-4391-9E9E-B7D36B437025}" destId="{9824FFF1-3003-4815-B245-4B6052EDD373}" srcOrd="0" destOrd="0" presId="urn:microsoft.com/office/officeart/2005/8/layout/vList2"/>
    <dgm:cxn modelId="{63D382AC-423C-46BA-9AE6-B54DEF44C253}" type="presOf" srcId="{B76DB791-43C0-485C-9616-DA9883D2B1EE}" destId="{93302375-2E69-4CB0-A497-F036008F00DD}" srcOrd="0" destOrd="0" presId="urn:microsoft.com/office/officeart/2005/8/layout/vList2"/>
    <dgm:cxn modelId="{731088DB-B0D5-49B4-A1CB-CF315FFDBE86}" srcId="{005063B7-85D1-441D-87C6-864638207FCC}" destId="{B76DB791-43C0-485C-9616-DA9883D2B1EE}" srcOrd="2" destOrd="0" parTransId="{7D32487C-43C8-417C-8E92-EA8D0DBBAFBC}" sibTransId="{FBFB9735-A86A-429D-AF1A-828A949E6EA0}"/>
    <dgm:cxn modelId="{2C696691-0665-4B74-B00F-C85621FE73C6}" type="presParOf" srcId="{FD86600D-E5A0-48F4-BD98-187362EDFBD2}" destId="{2FB19732-DBDF-4829-AB74-C56ADE14B56C}" srcOrd="0" destOrd="0" presId="urn:microsoft.com/office/officeart/2005/8/layout/vList2"/>
    <dgm:cxn modelId="{4D37DF16-8060-4094-916C-0B1B85CE046A}" type="presParOf" srcId="{FD86600D-E5A0-48F4-BD98-187362EDFBD2}" destId="{E468FB2C-8CC2-4985-B8CF-0B9A10AF1857}" srcOrd="1" destOrd="0" presId="urn:microsoft.com/office/officeart/2005/8/layout/vList2"/>
    <dgm:cxn modelId="{5EC7ADC2-6DDC-480A-A591-111D461B71F0}" type="presParOf" srcId="{FD86600D-E5A0-48F4-BD98-187362EDFBD2}" destId="{9824FFF1-3003-4815-B245-4B6052EDD373}" srcOrd="2" destOrd="0" presId="urn:microsoft.com/office/officeart/2005/8/layout/vList2"/>
    <dgm:cxn modelId="{C300D252-D175-4819-8F64-8DC337605B0C}" type="presParOf" srcId="{FD86600D-E5A0-48F4-BD98-187362EDFBD2}" destId="{39C5EBA5-362E-4AC9-BA76-322738A0A1AF}" srcOrd="3" destOrd="0" presId="urn:microsoft.com/office/officeart/2005/8/layout/vList2"/>
    <dgm:cxn modelId="{8F10334D-8E73-487C-9E4D-9E9C41D5277D}" type="presParOf" srcId="{FD86600D-E5A0-48F4-BD98-187362EDFBD2}" destId="{93302375-2E69-4CB0-A497-F036008F00DD}" srcOrd="4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28B5E9"/>
        </a:solidFill>
      </dgm:spPr>
      <dgm:t>
        <a:bodyPr/>
        <a:lstStyle/>
        <a:p>
          <a:r>
            <a:rPr lang="fi-FI" dirty="0"/>
            <a:t>Solut muodostuvat pääosin vedestä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 phldrT="01"/>
      <dgm:spPr/>
    </dgm:pt>
    <dgm:pt modelId="{3CF7D86E-E6B4-4391-9E9E-B7D36B437025}">
      <dgm:prSet/>
      <dgm:spPr>
        <a:solidFill>
          <a:srgbClr val="54C6EE"/>
        </a:solidFill>
      </dgm:spPr>
      <dgm:t>
        <a:bodyPr/>
        <a:lstStyle/>
        <a:p>
          <a:r>
            <a:rPr lang="fi-FI" dirty="0"/>
            <a:t>Vesi on hyvä liuotin ja siinä tapahtuvat solujen biokemialliset reaktiot.</a:t>
          </a:r>
          <a:endParaRPr lang="en-US" dirty="0"/>
        </a:p>
      </dgm:t>
    </dgm:pt>
    <dgm:pt modelId="{18D45F16-2F8B-44D2-92B4-C4F3E4247E1A}" type="sibTrans" cxnId="{D3F4FF08-8A68-4FFE-B749-2D2F28A90751}">
      <dgm:prSet phldrT="02"/>
      <dgm:spPr/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CFD8F1DF-3BAC-49CB-A796-4E47F5DFF390}">
      <dgm:prSet/>
      <dgm:spPr>
        <a:solidFill>
          <a:srgbClr val="89D7F3"/>
        </a:solidFill>
      </dgm:spPr>
      <dgm:t>
        <a:bodyPr/>
        <a:lstStyle/>
        <a:p>
          <a:pPr>
            <a:buFont typeface="Arial" panose="020B0604020202020204" pitchFamily="34" charset="0"/>
            <a:buNone/>
          </a:pPr>
          <a:r>
            <a:rPr lang="fi-FI">
              <a:cs typeface="Calibri"/>
            </a:rPr>
            <a:t>Vesi on monien solujen reaktioiden lähtöaine tai reaktiotuote.</a:t>
          </a:r>
          <a:endParaRPr lang="en-US"/>
        </a:p>
      </dgm:t>
    </dgm:pt>
    <dgm:pt modelId="{D5DBAF77-C981-4C58-BE58-72956FCE2D52}" type="sibTrans" cxnId="{B03C9D25-4046-4A98-A7EF-BD1631D925BE}">
      <dgm:prSet phldrT="03"/>
      <dgm:spPr/>
    </dgm:pt>
    <dgm:pt modelId="{D0821C82-27AE-4133-B369-C27B1886C37A}" type="parTrans" cxnId="{B03C9D25-4046-4A98-A7EF-BD1631D925BE}">
      <dgm:prSet/>
      <dgm:spPr/>
      <dgm:t>
        <a:bodyPr/>
        <a:lstStyle/>
        <a:p>
          <a:endParaRPr lang="fi-FI"/>
        </a:p>
      </dgm:t>
    </dgm:pt>
    <dgm:pt modelId="{E5AE1F70-6CC6-4047-816B-171E71109FA1}">
      <dgm:prSet/>
      <dgm:spPr>
        <a:solidFill>
          <a:srgbClr val="B6E7F8"/>
        </a:solidFill>
      </dgm:spPr>
      <dgm:t>
        <a:bodyPr/>
        <a:lstStyle/>
        <a:p>
          <a:pPr>
            <a:buFont typeface="Arial" charset="0"/>
            <a:buNone/>
          </a:pPr>
          <a:r>
            <a:rPr lang="fi-FI" dirty="0">
              <a:cs typeface="Calibri" panose="020F0502020204030204"/>
            </a:rPr>
            <a:t>Vesi on hyvä lämmönkuljettaja ja lämmöntasaaja</a:t>
          </a:r>
          <a:endParaRPr lang="en-US" dirty="0"/>
        </a:p>
      </dgm:t>
    </dgm:pt>
    <dgm:pt modelId="{7754D56D-B68F-4B2D-A7B1-F571EB5282CB}" type="sibTrans" cxnId="{A3FC0F01-49F9-44E4-8CF0-225187DCE8F2}">
      <dgm:prSet phldrT="04"/>
      <dgm:spPr/>
      <dgm:t>
        <a:bodyPr/>
        <a:lstStyle/>
        <a:p>
          <a:endParaRPr lang="fi-FI"/>
        </a:p>
      </dgm:t>
    </dgm:pt>
    <dgm:pt modelId="{F2FCC927-A5E0-4CD7-ADD4-E8499860DE1E}" type="parTrans" cxnId="{A3FC0F01-49F9-44E4-8CF0-225187DCE8F2}">
      <dgm:prSet/>
      <dgm:spPr/>
      <dgm:t>
        <a:bodyPr/>
        <a:lstStyle/>
        <a:p>
          <a:endParaRPr lang="fi-FI"/>
        </a:p>
      </dgm:t>
    </dgm:pt>
    <dgm:pt modelId="{0F0746ED-CDFA-40B8-9294-3C6F0986C662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7709E92F-6F5C-45E9-A1CE-32377E6A2732}" type="pres">
      <dgm:prSet presAssocID="{7BC353A9-2E9A-4B42-B9DF-3904A72B6A0E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00DDA04F-1186-49C5-92AB-ED529A807482}" type="pres">
      <dgm:prSet presAssocID="{34A83047-F862-4DFB-A54B-26CD2997000F}" presName="spacer" presStyleCnt="0"/>
      <dgm:spPr/>
    </dgm:pt>
    <dgm:pt modelId="{2EC88457-289A-46E4-A14B-270DDDE56BE6}" type="pres">
      <dgm:prSet presAssocID="{3CF7D86E-E6B4-4391-9E9E-B7D36B437025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ACADA857-2BD0-46EE-9B51-350E9BACBC21}" type="pres">
      <dgm:prSet presAssocID="{18D45F16-2F8B-44D2-92B4-C4F3E4247E1A}" presName="spacer" presStyleCnt="0"/>
      <dgm:spPr/>
    </dgm:pt>
    <dgm:pt modelId="{F3997766-A9C2-4C2F-B6FC-DFAEF597B2A6}" type="pres">
      <dgm:prSet presAssocID="{CFD8F1DF-3BAC-49CB-A796-4E47F5DFF390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1DB2023F-C480-4D3A-92BE-A2EEB542A115}" type="pres">
      <dgm:prSet presAssocID="{D5DBAF77-C981-4C58-BE58-72956FCE2D52}" presName="spacer" presStyleCnt="0"/>
      <dgm:spPr/>
    </dgm:pt>
    <dgm:pt modelId="{F845C35F-AF37-4D46-AD6F-379BC51B5377}" type="pres">
      <dgm:prSet presAssocID="{E5AE1F70-6CC6-4047-816B-171E71109FA1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A3FC0F01-49F9-44E4-8CF0-225187DCE8F2}" srcId="{005063B7-85D1-441D-87C6-864638207FCC}" destId="{E5AE1F70-6CC6-4047-816B-171E71109FA1}" srcOrd="3" destOrd="0" parTransId="{F2FCC927-A5E0-4CD7-ADD4-E8499860DE1E}" sibTransId="{7754D56D-B68F-4B2D-A7B1-F571EB5282CB}"/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8BCFDE0B-3ECD-4D29-BD48-ACB88DD28551}" type="presOf" srcId="{3CF7D86E-E6B4-4391-9E9E-B7D36B437025}" destId="{2EC88457-289A-46E4-A14B-270DDDE56BE6}" srcOrd="0" destOrd="0" presId="urn:microsoft.com/office/officeart/2005/8/layout/vList2"/>
    <dgm:cxn modelId="{C60E0818-A0E5-489B-8E8B-CD21C446D1E3}" type="presOf" srcId="{E5AE1F70-6CC6-4047-816B-171E71109FA1}" destId="{F845C35F-AF37-4D46-AD6F-379BC51B5377}" srcOrd="0" destOrd="0" presId="urn:microsoft.com/office/officeart/2005/8/layout/vList2"/>
    <dgm:cxn modelId="{B03C9D25-4046-4A98-A7EF-BD1631D925BE}" srcId="{005063B7-85D1-441D-87C6-864638207FCC}" destId="{CFD8F1DF-3BAC-49CB-A796-4E47F5DFF390}" srcOrd="2" destOrd="0" parTransId="{D0821C82-27AE-4133-B369-C27B1886C37A}" sibTransId="{D5DBAF77-C981-4C58-BE58-72956FCE2D52}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007CD08C-C788-4C72-B95D-57A3C56E9890}" type="presOf" srcId="{005063B7-85D1-441D-87C6-864638207FCC}" destId="{0F0746ED-CDFA-40B8-9294-3C6F0986C662}" srcOrd="0" destOrd="0" presId="urn:microsoft.com/office/officeart/2005/8/layout/vList2"/>
    <dgm:cxn modelId="{FC924094-03F4-40B1-BA60-BE9DBF96857D}" type="presOf" srcId="{7BC353A9-2E9A-4B42-B9DF-3904A72B6A0E}" destId="{7709E92F-6F5C-45E9-A1CE-32377E6A2732}" srcOrd="0" destOrd="0" presId="urn:microsoft.com/office/officeart/2005/8/layout/vList2"/>
    <dgm:cxn modelId="{D422E5F7-79D6-4BA7-A087-B2541045736A}" type="presOf" srcId="{CFD8F1DF-3BAC-49CB-A796-4E47F5DFF390}" destId="{F3997766-A9C2-4C2F-B6FC-DFAEF597B2A6}" srcOrd="0" destOrd="0" presId="urn:microsoft.com/office/officeart/2005/8/layout/vList2"/>
    <dgm:cxn modelId="{09F46EB3-8BBF-4D90-9663-8EB600013727}" type="presParOf" srcId="{0F0746ED-CDFA-40B8-9294-3C6F0986C662}" destId="{7709E92F-6F5C-45E9-A1CE-32377E6A2732}" srcOrd="0" destOrd="0" presId="urn:microsoft.com/office/officeart/2005/8/layout/vList2"/>
    <dgm:cxn modelId="{F3C91BE6-AA73-4800-803E-2F20109EF4EA}" type="presParOf" srcId="{0F0746ED-CDFA-40B8-9294-3C6F0986C662}" destId="{00DDA04F-1186-49C5-92AB-ED529A807482}" srcOrd="1" destOrd="0" presId="urn:microsoft.com/office/officeart/2005/8/layout/vList2"/>
    <dgm:cxn modelId="{867E2D26-8B68-4CFD-9CAC-D569CE5485AA}" type="presParOf" srcId="{0F0746ED-CDFA-40B8-9294-3C6F0986C662}" destId="{2EC88457-289A-46E4-A14B-270DDDE56BE6}" srcOrd="2" destOrd="0" presId="urn:microsoft.com/office/officeart/2005/8/layout/vList2"/>
    <dgm:cxn modelId="{719098F5-FAFD-444E-AB62-1CF8C88B1F19}" type="presParOf" srcId="{0F0746ED-CDFA-40B8-9294-3C6F0986C662}" destId="{ACADA857-2BD0-46EE-9B51-350E9BACBC21}" srcOrd="3" destOrd="0" presId="urn:microsoft.com/office/officeart/2005/8/layout/vList2"/>
    <dgm:cxn modelId="{04A0434A-8D19-43A8-B0A3-BFC6BBA5104E}" type="presParOf" srcId="{0F0746ED-CDFA-40B8-9294-3C6F0986C662}" destId="{F3997766-A9C2-4C2F-B6FC-DFAEF597B2A6}" srcOrd="4" destOrd="0" presId="urn:microsoft.com/office/officeart/2005/8/layout/vList2"/>
    <dgm:cxn modelId="{90707931-397C-42F5-8987-028F6EEADB5B}" type="presParOf" srcId="{0F0746ED-CDFA-40B8-9294-3C6F0986C662}" destId="{1DB2023F-C480-4D3A-92BE-A2EEB542A115}" srcOrd="5" destOrd="0" presId="urn:microsoft.com/office/officeart/2005/8/layout/vList2"/>
    <dgm:cxn modelId="{7B99C819-4368-4300-96BE-610A10AE438F}" type="presParOf" srcId="{0F0746ED-CDFA-40B8-9294-3C6F0986C662}" destId="{F845C35F-AF37-4D46-AD6F-379BC51B5377}" srcOrd="6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A9A9D5"/>
        </a:solidFill>
      </dgm:spPr>
      <dgm:t>
        <a:bodyPr/>
        <a:lstStyle/>
        <a:p>
          <a:r>
            <a:rPr lang="fi-FI" dirty="0">
              <a:cs typeface="Calibri"/>
            </a:rPr>
            <a:t>Hiilihydraatit: 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3CF7D86E-E6B4-4391-9E9E-B7D36B437025}">
      <dgm:prSet/>
      <dgm:spPr>
        <a:solidFill>
          <a:srgbClr val="FFD55D"/>
        </a:solidFill>
      </dgm:spPr>
      <dgm:t>
        <a:bodyPr/>
        <a:lstStyle/>
        <a:p>
          <a:r>
            <a:rPr lang="fi-FI">
              <a:cs typeface="Calibri"/>
            </a:rPr>
            <a:t>Lipidit eli rasva-aineet:</a:t>
          </a:r>
          <a:endParaRPr lang="en-US" dirty="0"/>
        </a:p>
      </dgm:t>
    </dgm:pt>
    <dgm:pt modelId="{18D45F16-2F8B-44D2-92B4-C4F3E4247E1A}" type="sibTrans" cxnId="{D3F4FF08-8A68-4FFE-B749-2D2F28A90751}">
      <dgm:prSet/>
      <dgm:spPr/>
      <dgm:t>
        <a:bodyPr/>
        <a:lstStyle/>
        <a:p>
          <a:endParaRPr lang="en-US"/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F966B3BF-D858-49EC-B72B-390271E6563C}">
      <dgm:prSet/>
      <dgm:spPr/>
      <dgm:t>
        <a:bodyPr/>
        <a:lstStyle/>
        <a:p>
          <a:r>
            <a:rPr lang="fi-FI" dirty="0">
              <a:cs typeface="Calibri"/>
            </a:rPr>
            <a:t>hyviä energialähteitä ja energiavarastoja</a:t>
          </a:r>
        </a:p>
      </dgm:t>
    </dgm:pt>
    <dgm:pt modelId="{EA0EFB88-AAA0-4767-9F6D-C43AC96828D1}" type="parTrans" cxnId="{2C378197-79E3-4D09-B469-D04BB5EF4B03}">
      <dgm:prSet/>
      <dgm:spPr/>
      <dgm:t>
        <a:bodyPr/>
        <a:lstStyle/>
        <a:p>
          <a:endParaRPr lang="fi-FI"/>
        </a:p>
      </dgm:t>
    </dgm:pt>
    <dgm:pt modelId="{08E53905-D16F-4939-BC72-FDE0C89B3A9D}" type="sibTrans" cxnId="{2C378197-79E3-4D09-B469-D04BB5EF4B03}">
      <dgm:prSet/>
      <dgm:spPr/>
      <dgm:t>
        <a:bodyPr/>
        <a:lstStyle/>
        <a:p>
          <a:endParaRPr lang="fi-FI"/>
        </a:p>
      </dgm:t>
    </dgm:pt>
    <dgm:pt modelId="{7B8E6B79-49B5-429F-9F17-8DCA46FDE627}">
      <dgm:prSet/>
      <dgm:spPr/>
      <dgm:t>
        <a:bodyPr/>
        <a:lstStyle/>
        <a:p>
          <a:r>
            <a:rPr lang="fi-FI" dirty="0">
              <a:cs typeface="Calibri"/>
            </a:rPr>
            <a:t>pitkäketjuiset hiilihydraatit toimivat soluissa tukirakenteina</a:t>
          </a:r>
        </a:p>
      </dgm:t>
    </dgm:pt>
    <dgm:pt modelId="{BEECE47A-D8C4-456E-96AF-55FC5C199106}" type="parTrans" cxnId="{76D796CE-95FD-48AB-A18E-6138B89F5C2D}">
      <dgm:prSet/>
      <dgm:spPr/>
      <dgm:t>
        <a:bodyPr/>
        <a:lstStyle/>
        <a:p>
          <a:endParaRPr lang="fi-FI"/>
        </a:p>
      </dgm:t>
    </dgm:pt>
    <dgm:pt modelId="{7CE28C22-62F1-46A5-9925-C8137C9CE5EB}" type="sibTrans" cxnId="{76D796CE-95FD-48AB-A18E-6138B89F5C2D}">
      <dgm:prSet/>
      <dgm:spPr/>
      <dgm:t>
        <a:bodyPr/>
        <a:lstStyle/>
        <a:p>
          <a:endParaRPr lang="fi-FI"/>
        </a:p>
      </dgm:t>
    </dgm:pt>
    <dgm:pt modelId="{DB1EAB34-0199-49A5-8D86-7B42AE3FD730}">
      <dgm:prSet/>
      <dgm:spPr/>
      <dgm:t>
        <a:bodyPr/>
        <a:lstStyle/>
        <a:p>
          <a:r>
            <a:rPr lang="fi-FI">
              <a:cs typeface="Calibri"/>
            </a:rPr>
            <a:t>Triglyseridit energiavarastoina ja -lähteinä</a:t>
          </a:r>
          <a:endParaRPr lang="fi-FI" dirty="0">
            <a:cs typeface="Calibri"/>
          </a:endParaRPr>
        </a:p>
      </dgm:t>
    </dgm:pt>
    <dgm:pt modelId="{929331AC-C69D-4373-A0EF-2A9EF92FE2EC}" type="parTrans" cxnId="{92F2E647-4B93-46F7-8971-4C65AB13B358}">
      <dgm:prSet/>
      <dgm:spPr/>
      <dgm:t>
        <a:bodyPr/>
        <a:lstStyle/>
        <a:p>
          <a:endParaRPr lang="fi-FI"/>
        </a:p>
      </dgm:t>
    </dgm:pt>
    <dgm:pt modelId="{BC28482D-87EB-491D-92F6-5535085D03C8}" type="sibTrans" cxnId="{92F2E647-4B93-46F7-8971-4C65AB13B358}">
      <dgm:prSet/>
      <dgm:spPr/>
      <dgm:t>
        <a:bodyPr/>
        <a:lstStyle/>
        <a:p>
          <a:endParaRPr lang="fi-FI"/>
        </a:p>
      </dgm:t>
    </dgm:pt>
    <dgm:pt modelId="{7BE79FC3-9927-4CD7-B8DB-78C55777EC6E}">
      <dgm:prSet/>
      <dgm:spPr/>
      <dgm:t>
        <a:bodyPr/>
        <a:lstStyle/>
        <a:p>
          <a:r>
            <a:rPr lang="fi-FI" dirty="0" err="1">
              <a:cs typeface="Calibri"/>
            </a:rPr>
            <a:t>Fosfolipidit</a:t>
          </a:r>
          <a:r>
            <a:rPr lang="fi-FI" dirty="0">
              <a:cs typeface="Calibri"/>
            </a:rPr>
            <a:t> kalvorakenteiden rakennusosia</a:t>
          </a:r>
        </a:p>
      </dgm:t>
    </dgm:pt>
    <dgm:pt modelId="{E29D3435-ADFC-471C-A417-956FA75F3359}" type="parTrans" cxnId="{1FAB5DCC-FEF4-4E41-853E-FC736629E861}">
      <dgm:prSet/>
      <dgm:spPr/>
      <dgm:t>
        <a:bodyPr/>
        <a:lstStyle/>
        <a:p>
          <a:endParaRPr lang="fi-FI"/>
        </a:p>
      </dgm:t>
    </dgm:pt>
    <dgm:pt modelId="{608D3364-39F5-4657-BFBC-D81192B47EA7}" type="sibTrans" cxnId="{1FAB5DCC-FEF4-4E41-853E-FC736629E861}">
      <dgm:prSet/>
      <dgm:spPr/>
      <dgm:t>
        <a:bodyPr/>
        <a:lstStyle/>
        <a:p>
          <a:endParaRPr lang="fi-FI"/>
        </a:p>
      </dgm:t>
    </dgm:pt>
    <dgm:pt modelId="{4C1C000C-8932-4E3B-8D5D-93D8C106DB52}">
      <dgm:prSet/>
      <dgm:spPr/>
      <dgm:t>
        <a:bodyPr/>
        <a:lstStyle/>
        <a:p>
          <a:r>
            <a:rPr lang="fi-FI">
              <a:cs typeface="Calibri"/>
            </a:rPr>
            <a:t>Steroidit hormoneja</a:t>
          </a:r>
          <a:endParaRPr lang="fi-FI" dirty="0">
            <a:cs typeface="Calibri"/>
          </a:endParaRPr>
        </a:p>
      </dgm:t>
    </dgm:pt>
    <dgm:pt modelId="{7E8888B6-3E7B-4322-88D2-879540B8CD57}" type="parTrans" cxnId="{CF4E2F1F-E77A-4388-860C-DDDD83062E7C}">
      <dgm:prSet/>
      <dgm:spPr/>
      <dgm:t>
        <a:bodyPr/>
        <a:lstStyle/>
        <a:p>
          <a:endParaRPr lang="fi-FI"/>
        </a:p>
      </dgm:t>
    </dgm:pt>
    <dgm:pt modelId="{B76ED4B9-B70C-4D3E-9A57-0BA75EE18816}" type="sibTrans" cxnId="{CF4E2F1F-E77A-4388-860C-DDDD83062E7C}">
      <dgm:prSet/>
      <dgm:spPr/>
      <dgm:t>
        <a:bodyPr/>
        <a:lstStyle/>
        <a:p>
          <a:endParaRPr lang="fi-FI"/>
        </a:p>
      </dgm:t>
    </dgm:pt>
    <dgm:pt modelId="{2384A54A-50B3-43A9-94AE-B5DB537E9D8D}">
      <dgm:prSet/>
      <dgm:spPr/>
      <dgm:t>
        <a:bodyPr/>
        <a:lstStyle/>
        <a:p>
          <a:r>
            <a:rPr lang="fi-FI" dirty="0">
              <a:cs typeface="Calibri"/>
            </a:rPr>
            <a:t>Karotenoidit väriaineita</a:t>
          </a:r>
        </a:p>
      </dgm:t>
    </dgm:pt>
    <dgm:pt modelId="{78C44469-BC8E-4D59-AD04-8ADEE8A1521F}" type="parTrans" cxnId="{71B9754C-6117-4E2F-A13D-08D500A15F3D}">
      <dgm:prSet/>
      <dgm:spPr/>
      <dgm:t>
        <a:bodyPr/>
        <a:lstStyle/>
        <a:p>
          <a:endParaRPr lang="fi-FI"/>
        </a:p>
      </dgm:t>
    </dgm:pt>
    <dgm:pt modelId="{4A81FAEB-BC27-46F0-BD72-6C2442FAB00A}" type="sibTrans" cxnId="{71B9754C-6117-4E2F-A13D-08D500A15F3D}">
      <dgm:prSet/>
      <dgm:spPr/>
      <dgm:t>
        <a:bodyPr/>
        <a:lstStyle/>
        <a:p>
          <a:endParaRPr lang="fi-FI"/>
        </a:p>
      </dgm:t>
    </dgm:pt>
    <dgm:pt modelId="{F784A8A9-9C20-4DE3-968D-6B91DFFBCB51}">
      <dgm:prSet/>
      <dgm:spPr>
        <a:solidFill>
          <a:srgbClr val="F27CB1"/>
        </a:solidFill>
      </dgm:spPr>
      <dgm:t>
        <a:bodyPr/>
        <a:lstStyle/>
        <a:p>
          <a:r>
            <a:rPr lang="fi-FI">
              <a:ea typeface="+mn-lt"/>
              <a:cs typeface="+mn-lt"/>
            </a:rPr>
            <a:t>Proteiinit:</a:t>
          </a:r>
          <a:endParaRPr lang="fi-FI" dirty="0">
            <a:cs typeface="Calibri"/>
          </a:endParaRPr>
        </a:p>
      </dgm:t>
    </dgm:pt>
    <dgm:pt modelId="{6E6BE1CF-75A2-47D8-B673-12081681F191}" type="parTrans" cxnId="{518A0174-A8CE-4261-92CF-26B69D9EBBEF}">
      <dgm:prSet/>
      <dgm:spPr/>
      <dgm:t>
        <a:bodyPr/>
        <a:lstStyle/>
        <a:p>
          <a:endParaRPr lang="fi-FI"/>
        </a:p>
      </dgm:t>
    </dgm:pt>
    <dgm:pt modelId="{046D03DA-CC97-4B20-A992-D5AC1229288F}" type="sibTrans" cxnId="{518A0174-A8CE-4261-92CF-26B69D9EBBEF}">
      <dgm:prSet/>
      <dgm:spPr/>
      <dgm:t>
        <a:bodyPr/>
        <a:lstStyle/>
        <a:p>
          <a:endParaRPr lang="fi-FI"/>
        </a:p>
      </dgm:t>
    </dgm:pt>
    <dgm:pt modelId="{7FFB789B-2526-4574-B2BD-2C5F9EA55C2C}">
      <dgm:prSet/>
      <dgm:spPr/>
      <dgm:t>
        <a:bodyPr/>
        <a:lstStyle/>
        <a:p>
          <a:r>
            <a:rPr lang="fi-FI">
              <a:ea typeface="+mn-lt"/>
              <a:cs typeface="+mn-lt"/>
            </a:rPr>
            <a:t>Rakenneosina, hormoneina, entsyymeinä</a:t>
          </a:r>
          <a:endParaRPr lang="fi-FI" dirty="0">
            <a:ea typeface="+mn-lt"/>
            <a:cs typeface="+mn-lt"/>
          </a:endParaRPr>
        </a:p>
      </dgm:t>
    </dgm:pt>
    <dgm:pt modelId="{FFD6F486-E26C-4D47-B728-63522E247924}" type="parTrans" cxnId="{792C262C-D19F-4FD9-876D-773236C242DE}">
      <dgm:prSet/>
      <dgm:spPr/>
      <dgm:t>
        <a:bodyPr/>
        <a:lstStyle/>
        <a:p>
          <a:endParaRPr lang="fi-FI"/>
        </a:p>
      </dgm:t>
    </dgm:pt>
    <dgm:pt modelId="{ED17A79D-D8B3-4F93-8C43-0CA47879C6E8}" type="sibTrans" cxnId="{792C262C-D19F-4FD9-876D-773236C242DE}">
      <dgm:prSet/>
      <dgm:spPr/>
      <dgm:t>
        <a:bodyPr/>
        <a:lstStyle/>
        <a:p>
          <a:endParaRPr lang="fi-FI"/>
        </a:p>
      </dgm:t>
    </dgm:pt>
    <dgm:pt modelId="{1A2EDA49-98B8-49A5-81FF-595FDF13F6B1}">
      <dgm:prSet/>
      <dgm:spPr>
        <a:solidFill>
          <a:srgbClr val="54C6EE"/>
        </a:solidFill>
      </dgm:spPr>
      <dgm:t>
        <a:bodyPr/>
        <a:lstStyle/>
        <a:p>
          <a:r>
            <a:rPr lang="fi-FI">
              <a:cs typeface="Calibri"/>
            </a:rPr>
            <a:t>Nukleiinihapot:</a:t>
          </a:r>
          <a:endParaRPr lang="fi-FI" dirty="0">
            <a:cs typeface="Calibri"/>
          </a:endParaRPr>
        </a:p>
      </dgm:t>
    </dgm:pt>
    <dgm:pt modelId="{ABC1FF8F-F4C8-4385-A1C1-93035D134973}" type="parTrans" cxnId="{EB19F8FC-25FE-4DBE-80BE-87DA680FC090}">
      <dgm:prSet/>
      <dgm:spPr/>
      <dgm:t>
        <a:bodyPr/>
        <a:lstStyle/>
        <a:p>
          <a:endParaRPr lang="fi-FI"/>
        </a:p>
      </dgm:t>
    </dgm:pt>
    <dgm:pt modelId="{26D3836A-85E3-40F0-9B22-551FF54D1437}" type="sibTrans" cxnId="{EB19F8FC-25FE-4DBE-80BE-87DA680FC090}">
      <dgm:prSet/>
      <dgm:spPr/>
      <dgm:t>
        <a:bodyPr/>
        <a:lstStyle/>
        <a:p>
          <a:endParaRPr lang="fi-FI"/>
        </a:p>
      </dgm:t>
    </dgm:pt>
    <dgm:pt modelId="{64A51D2F-C23B-4AE2-80B9-965C4B9B5B8A}">
      <dgm:prSet/>
      <dgm:spPr/>
      <dgm:t>
        <a:bodyPr/>
        <a:lstStyle/>
        <a:p>
          <a:r>
            <a:rPr lang="fi-FI">
              <a:cs typeface="Calibri"/>
            </a:rPr>
            <a:t>Solujen toimintaa ohjaava perinnöllinen informaatio</a:t>
          </a:r>
          <a:endParaRPr lang="fi-FI" dirty="0">
            <a:cs typeface="Calibri"/>
          </a:endParaRPr>
        </a:p>
      </dgm:t>
    </dgm:pt>
    <dgm:pt modelId="{FA067330-3A1A-4F8B-95F4-23D093DE1FCE}" type="parTrans" cxnId="{9746C385-A4C7-4211-8231-A83ACF89548C}">
      <dgm:prSet/>
      <dgm:spPr/>
      <dgm:t>
        <a:bodyPr/>
        <a:lstStyle/>
        <a:p>
          <a:endParaRPr lang="fi-FI"/>
        </a:p>
      </dgm:t>
    </dgm:pt>
    <dgm:pt modelId="{25AEEE58-F233-464A-A715-D99DCB3B7683}" type="sibTrans" cxnId="{9746C385-A4C7-4211-8231-A83ACF89548C}">
      <dgm:prSet/>
      <dgm:spPr/>
      <dgm:t>
        <a:bodyPr/>
        <a:lstStyle/>
        <a:p>
          <a:endParaRPr lang="fi-FI"/>
        </a:p>
      </dgm:t>
    </dgm:pt>
    <dgm:pt modelId="{21DCF4D9-31F2-40FD-9CDE-73C4E612866E}">
      <dgm:prSet/>
      <dgm:spPr/>
      <dgm:t>
        <a:bodyPr/>
        <a:lstStyle/>
        <a:p>
          <a:r>
            <a:rPr lang="fi-FI">
              <a:cs typeface="Calibri"/>
            </a:rPr>
            <a:t>DNA ja RNA</a:t>
          </a:r>
          <a:endParaRPr lang="fi-FI" dirty="0">
            <a:cs typeface="Calibri"/>
          </a:endParaRPr>
        </a:p>
      </dgm:t>
    </dgm:pt>
    <dgm:pt modelId="{A916D4D6-3676-4DB7-B698-320A8440E069}" type="parTrans" cxnId="{0D8A8594-2CF8-4295-8FAB-3D9A94D9859F}">
      <dgm:prSet/>
      <dgm:spPr/>
      <dgm:t>
        <a:bodyPr/>
        <a:lstStyle/>
        <a:p>
          <a:endParaRPr lang="fi-FI"/>
        </a:p>
      </dgm:t>
    </dgm:pt>
    <dgm:pt modelId="{99F5D5B1-9E1A-494B-A096-EA043C2CA84F}" type="sibTrans" cxnId="{0D8A8594-2CF8-4295-8FAB-3D9A94D9859F}">
      <dgm:prSet/>
      <dgm:spPr/>
      <dgm:t>
        <a:bodyPr/>
        <a:lstStyle/>
        <a:p>
          <a:endParaRPr lang="fi-FI"/>
        </a:p>
      </dgm:t>
    </dgm:pt>
    <dgm:pt modelId="{42F1E7F5-F2A5-48DE-A96C-55A73A9FBDFF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48F30E76-D9FB-41D6-9499-EE3862DBD7AC}" type="pres">
      <dgm:prSet presAssocID="{7BC353A9-2E9A-4B42-B9DF-3904A72B6A0E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6AB2626-095A-4738-A62A-718705229945}" type="pres">
      <dgm:prSet presAssocID="{7BC353A9-2E9A-4B42-B9DF-3904A72B6A0E}" presName="childText" presStyleLbl="revTx" presStyleIdx="0" presStyleCnt="4">
        <dgm:presLayoutVars>
          <dgm:bulletEnabled val="1"/>
        </dgm:presLayoutVars>
      </dgm:prSet>
      <dgm:spPr/>
    </dgm:pt>
    <dgm:pt modelId="{96B1D000-36B0-4942-9FCE-181D5FF06423}" type="pres">
      <dgm:prSet presAssocID="{3CF7D86E-E6B4-4391-9E9E-B7D36B437025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3F0B3A14-3794-4058-8794-D3E07CA2BC95}" type="pres">
      <dgm:prSet presAssocID="{3CF7D86E-E6B4-4391-9E9E-B7D36B437025}" presName="childText" presStyleLbl="revTx" presStyleIdx="1" presStyleCnt="4">
        <dgm:presLayoutVars>
          <dgm:bulletEnabled val="1"/>
        </dgm:presLayoutVars>
      </dgm:prSet>
      <dgm:spPr/>
    </dgm:pt>
    <dgm:pt modelId="{1619D632-2984-44FA-A195-7E2CE7EDB175}" type="pres">
      <dgm:prSet presAssocID="{F784A8A9-9C20-4DE3-968D-6B91DFFBCB51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1D4395BA-4FB5-4B14-BB2C-1520E10B67E9}" type="pres">
      <dgm:prSet presAssocID="{F784A8A9-9C20-4DE3-968D-6B91DFFBCB51}" presName="childText" presStyleLbl="revTx" presStyleIdx="2" presStyleCnt="4">
        <dgm:presLayoutVars>
          <dgm:bulletEnabled val="1"/>
        </dgm:presLayoutVars>
      </dgm:prSet>
      <dgm:spPr/>
    </dgm:pt>
    <dgm:pt modelId="{1011A6EA-F385-44E1-8CC9-E42EFEA3569E}" type="pres">
      <dgm:prSet presAssocID="{1A2EDA49-98B8-49A5-81FF-595FDF13F6B1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637DD328-0A44-48CF-9AE3-EAD3B6D9B973}" type="pres">
      <dgm:prSet presAssocID="{1A2EDA49-98B8-49A5-81FF-595FDF13F6B1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7908D503-BCEF-48E4-A311-C0FD9EC73756}" type="presOf" srcId="{7B8E6B79-49B5-429F-9F17-8DCA46FDE627}" destId="{86AB2626-095A-4738-A62A-718705229945}" srcOrd="0" destOrd="1" presId="urn:microsoft.com/office/officeart/2005/8/layout/vList2"/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CF4E2F1F-E77A-4388-860C-DDDD83062E7C}" srcId="{3CF7D86E-E6B4-4391-9E9E-B7D36B437025}" destId="{4C1C000C-8932-4E3B-8D5D-93D8C106DB52}" srcOrd="2" destOrd="0" parTransId="{7E8888B6-3E7B-4322-88D2-879540B8CD57}" sibTransId="{B76ED4B9-B70C-4D3E-9A57-0BA75EE18816}"/>
    <dgm:cxn modelId="{EDC98A20-1A6D-4FBB-B4C5-E1BAC657D130}" type="presOf" srcId="{DB1EAB34-0199-49A5-8D86-7B42AE3FD730}" destId="{3F0B3A14-3794-4058-8794-D3E07CA2BC95}" srcOrd="0" destOrd="0" presId="urn:microsoft.com/office/officeart/2005/8/layout/vList2"/>
    <dgm:cxn modelId="{792C262C-D19F-4FD9-876D-773236C242DE}" srcId="{F784A8A9-9C20-4DE3-968D-6B91DFFBCB51}" destId="{7FFB789B-2526-4574-B2BD-2C5F9EA55C2C}" srcOrd="0" destOrd="0" parTransId="{FFD6F486-E26C-4D47-B728-63522E247924}" sibTransId="{ED17A79D-D8B3-4F93-8C43-0CA47879C6E8}"/>
    <dgm:cxn modelId="{E15FFE32-B8DB-4F49-95BD-A06206DB6AC2}" type="presOf" srcId="{4C1C000C-8932-4E3B-8D5D-93D8C106DB52}" destId="{3F0B3A14-3794-4058-8794-D3E07CA2BC95}" srcOrd="0" destOrd="2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1CA4B042-2C50-4D1F-BAA0-3B9EB0293BE3}" type="presOf" srcId="{3CF7D86E-E6B4-4391-9E9E-B7D36B437025}" destId="{96B1D000-36B0-4942-9FCE-181D5FF06423}" srcOrd="0" destOrd="0" presId="urn:microsoft.com/office/officeart/2005/8/layout/vList2"/>
    <dgm:cxn modelId="{92F2E647-4B93-46F7-8971-4C65AB13B358}" srcId="{3CF7D86E-E6B4-4391-9E9E-B7D36B437025}" destId="{DB1EAB34-0199-49A5-8D86-7B42AE3FD730}" srcOrd="0" destOrd="0" parTransId="{929331AC-C69D-4373-A0EF-2A9EF92FE2EC}" sibTransId="{BC28482D-87EB-491D-92F6-5535085D03C8}"/>
    <dgm:cxn modelId="{71B9754C-6117-4E2F-A13D-08D500A15F3D}" srcId="{3CF7D86E-E6B4-4391-9E9E-B7D36B437025}" destId="{2384A54A-50B3-43A9-94AE-B5DB537E9D8D}" srcOrd="3" destOrd="0" parTransId="{78C44469-BC8E-4D59-AD04-8ADEE8A1521F}" sibTransId="{4A81FAEB-BC27-46F0-BD72-6C2442FAB00A}"/>
    <dgm:cxn modelId="{518A0174-A8CE-4261-92CF-26B69D9EBBEF}" srcId="{005063B7-85D1-441D-87C6-864638207FCC}" destId="{F784A8A9-9C20-4DE3-968D-6B91DFFBCB51}" srcOrd="2" destOrd="0" parTransId="{6E6BE1CF-75A2-47D8-B673-12081681F191}" sibTransId="{046D03DA-CC97-4B20-A992-D5AC1229288F}"/>
    <dgm:cxn modelId="{AC87477B-D89A-4BB5-B97F-51240516BDCB}" type="presOf" srcId="{F784A8A9-9C20-4DE3-968D-6B91DFFBCB51}" destId="{1619D632-2984-44FA-A195-7E2CE7EDB175}" srcOrd="0" destOrd="0" presId="urn:microsoft.com/office/officeart/2005/8/layout/vList2"/>
    <dgm:cxn modelId="{2417AE7F-69DB-4251-83D5-E730D1ADC423}" type="presOf" srcId="{7BC353A9-2E9A-4B42-B9DF-3904A72B6A0E}" destId="{48F30E76-D9FB-41D6-9499-EE3862DBD7AC}" srcOrd="0" destOrd="0" presId="urn:microsoft.com/office/officeart/2005/8/layout/vList2"/>
    <dgm:cxn modelId="{9746C385-A4C7-4211-8231-A83ACF89548C}" srcId="{1A2EDA49-98B8-49A5-81FF-595FDF13F6B1}" destId="{64A51D2F-C23B-4AE2-80B9-965C4B9B5B8A}" srcOrd="0" destOrd="0" parTransId="{FA067330-3A1A-4F8B-95F4-23D093DE1FCE}" sibTransId="{25AEEE58-F233-464A-A715-D99DCB3B7683}"/>
    <dgm:cxn modelId="{0D8A8594-2CF8-4295-8FAB-3D9A94D9859F}" srcId="{1A2EDA49-98B8-49A5-81FF-595FDF13F6B1}" destId="{21DCF4D9-31F2-40FD-9CDE-73C4E612866E}" srcOrd="1" destOrd="0" parTransId="{A916D4D6-3676-4DB7-B698-320A8440E069}" sibTransId="{99F5D5B1-9E1A-494B-A096-EA043C2CA84F}"/>
    <dgm:cxn modelId="{2C378197-79E3-4D09-B469-D04BB5EF4B03}" srcId="{7BC353A9-2E9A-4B42-B9DF-3904A72B6A0E}" destId="{F966B3BF-D858-49EC-B72B-390271E6563C}" srcOrd="0" destOrd="0" parTransId="{EA0EFB88-AAA0-4767-9F6D-C43AC96828D1}" sibTransId="{08E53905-D16F-4939-BC72-FDE0C89B3A9D}"/>
    <dgm:cxn modelId="{5CBB4AC4-30EF-4636-8CEB-2CA66FEC020B}" type="presOf" srcId="{F966B3BF-D858-49EC-B72B-390271E6563C}" destId="{86AB2626-095A-4738-A62A-718705229945}" srcOrd="0" destOrd="0" presId="urn:microsoft.com/office/officeart/2005/8/layout/vList2"/>
    <dgm:cxn modelId="{107797C4-B318-4332-88C6-F62A7EAA994E}" type="presOf" srcId="{21DCF4D9-31F2-40FD-9CDE-73C4E612866E}" destId="{637DD328-0A44-48CF-9AE3-EAD3B6D9B973}" srcOrd="0" destOrd="1" presId="urn:microsoft.com/office/officeart/2005/8/layout/vList2"/>
    <dgm:cxn modelId="{35E78CC7-1601-4DF3-BA77-A2E8F126F587}" type="presOf" srcId="{64A51D2F-C23B-4AE2-80B9-965C4B9B5B8A}" destId="{637DD328-0A44-48CF-9AE3-EAD3B6D9B973}" srcOrd="0" destOrd="0" presId="urn:microsoft.com/office/officeart/2005/8/layout/vList2"/>
    <dgm:cxn modelId="{1FAB5DCC-FEF4-4E41-853E-FC736629E861}" srcId="{3CF7D86E-E6B4-4391-9E9E-B7D36B437025}" destId="{7BE79FC3-9927-4CD7-B8DB-78C55777EC6E}" srcOrd="1" destOrd="0" parTransId="{E29D3435-ADFC-471C-A417-956FA75F3359}" sibTransId="{608D3364-39F5-4657-BFBC-D81192B47EA7}"/>
    <dgm:cxn modelId="{03222BCE-EE1B-4853-A2BD-C6B23D7F696F}" type="presOf" srcId="{7BE79FC3-9927-4CD7-B8DB-78C55777EC6E}" destId="{3F0B3A14-3794-4058-8794-D3E07CA2BC95}" srcOrd="0" destOrd="1" presId="urn:microsoft.com/office/officeart/2005/8/layout/vList2"/>
    <dgm:cxn modelId="{76D796CE-95FD-48AB-A18E-6138B89F5C2D}" srcId="{7BC353A9-2E9A-4B42-B9DF-3904A72B6A0E}" destId="{7B8E6B79-49B5-429F-9F17-8DCA46FDE627}" srcOrd="1" destOrd="0" parTransId="{BEECE47A-D8C4-456E-96AF-55FC5C199106}" sibTransId="{7CE28C22-62F1-46A5-9925-C8137C9CE5EB}"/>
    <dgm:cxn modelId="{36D14ED5-1178-482B-A8AF-54FECE818AF2}" type="presOf" srcId="{7FFB789B-2526-4574-B2BD-2C5F9EA55C2C}" destId="{1D4395BA-4FB5-4B14-BB2C-1520E10B67E9}" srcOrd="0" destOrd="0" presId="urn:microsoft.com/office/officeart/2005/8/layout/vList2"/>
    <dgm:cxn modelId="{D6706CE2-0FEB-42AD-AD6C-B8F4BDB650CB}" type="presOf" srcId="{2384A54A-50B3-43A9-94AE-B5DB537E9D8D}" destId="{3F0B3A14-3794-4058-8794-D3E07CA2BC95}" srcOrd="0" destOrd="3" presId="urn:microsoft.com/office/officeart/2005/8/layout/vList2"/>
    <dgm:cxn modelId="{BBE607E5-9182-4227-B2D3-F7A64528FCC6}" type="presOf" srcId="{1A2EDA49-98B8-49A5-81FF-595FDF13F6B1}" destId="{1011A6EA-F385-44E1-8CC9-E42EFEA3569E}" srcOrd="0" destOrd="0" presId="urn:microsoft.com/office/officeart/2005/8/layout/vList2"/>
    <dgm:cxn modelId="{B8FDB9F2-C0F9-408B-B964-57D26EBEC1D9}" type="presOf" srcId="{005063B7-85D1-441D-87C6-864638207FCC}" destId="{42F1E7F5-F2A5-48DE-A96C-55A73A9FBDFF}" srcOrd="0" destOrd="0" presId="urn:microsoft.com/office/officeart/2005/8/layout/vList2"/>
    <dgm:cxn modelId="{EB19F8FC-25FE-4DBE-80BE-87DA680FC090}" srcId="{005063B7-85D1-441D-87C6-864638207FCC}" destId="{1A2EDA49-98B8-49A5-81FF-595FDF13F6B1}" srcOrd="3" destOrd="0" parTransId="{ABC1FF8F-F4C8-4385-A1C1-93035D134973}" sibTransId="{26D3836A-85E3-40F0-9B22-551FF54D1437}"/>
    <dgm:cxn modelId="{9C484DF8-9045-438E-B159-21B9B32C49CB}" type="presParOf" srcId="{42F1E7F5-F2A5-48DE-A96C-55A73A9FBDFF}" destId="{48F30E76-D9FB-41D6-9499-EE3862DBD7AC}" srcOrd="0" destOrd="0" presId="urn:microsoft.com/office/officeart/2005/8/layout/vList2"/>
    <dgm:cxn modelId="{A136FC74-D590-4E5E-949B-C0FEF344D037}" type="presParOf" srcId="{42F1E7F5-F2A5-48DE-A96C-55A73A9FBDFF}" destId="{86AB2626-095A-4738-A62A-718705229945}" srcOrd="1" destOrd="0" presId="urn:microsoft.com/office/officeart/2005/8/layout/vList2"/>
    <dgm:cxn modelId="{3CBC7E3C-1CEF-4FA3-8325-9A6D4DE9D30F}" type="presParOf" srcId="{42F1E7F5-F2A5-48DE-A96C-55A73A9FBDFF}" destId="{96B1D000-36B0-4942-9FCE-181D5FF06423}" srcOrd="2" destOrd="0" presId="urn:microsoft.com/office/officeart/2005/8/layout/vList2"/>
    <dgm:cxn modelId="{6B785DE7-19FB-4FBA-8C14-0817A28F0B83}" type="presParOf" srcId="{42F1E7F5-F2A5-48DE-A96C-55A73A9FBDFF}" destId="{3F0B3A14-3794-4058-8794-D3E07CA2BC95}" srcOrd="3" destOrd="0" presId="urn:microsoft.com/office/officeart/2005/8/layout/vList2"/>
    <dgm:cxn modelId="{24096F16-E76C-4C32-898D-2479F9FC980C}" type="presParOf" srcId="{42F1E7F5-F2A5-48DE-A96C-55A73A9FBDFF}" destId="{1619D632-2984-44FA-A195-7E2CE7EDB175}" srcOrd="4" destOrd="0" presId="urn:microsoft.com/office/officeart/2005/8/layout/vList2"/>
    <dgm:cxn modelId="{F9CE2EE2-D913-4E32-9F85-040F5036B889}" type="presParOf" srcId="{42F1E7F5-F2A5-48DE-A96C-55A73A9FBDFF}" destId="{1D4395BA-4FB5-4B14-BB2C-1520E10B67E9}" srcOrd="5" destOrd="0" presId="urn:microsoft.com/office/officeart/2005/8/layout/vList2"/>
    <dgm:cxn modelId="{37D77EC4-A4E3-454B-917E-828ECD90BBD6}" type="presParOf" srcId="{42F1E7F5-F2A5-48DE-A96C-55A73A9FBDFF}" destId="{1011A6EA-F385-44E1-8CC9-E42EFEA3569E}" srcOrd="6" destOrd="0" presId="urn:microsoft.com/office/officeart/2005/8/layout/vList2"/>
    <dgm:cxn modelId="{B188EE4D-8831-4302-B70C-5AD0FBF5C8D2}" type="presParOf" srcId="{42F1E7F5-F2A5-48DE-A96C-55A73A9FBDFF}" destId="{637DD328-0A44-48CF-9AE3-EAD3B6D9B973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C4E3F-33A1-4D36-853D-2D0906782B37}">
      <dsp:nvSpPr>
        <dsp:cNvPr id="0" name=""/>
        <dsp:cNvSpPr/>
      </dsp:nvSpPr>
      <dsp:spPr>
        <a:xfrm>
          <a:off x="0" y="12454"/>
          <a:ext cx="6573951" cy="913678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1600-luku : Solu löytyi sattumalta</a:t>
          </a:r>
          <a:endParaRPr lang="en-US" sz="2300" kern="1200" dirty="0"/>
        </a:p>
      </dsp:txBody>
      <dsp:txXfrm>
        <a:off x="44602" y="57056"/>
        <a:ext cx="6484747" cy="824474"/>
      </dsp:txXfrm>
    </dsp:sp>
    <dsp:sp modelId="{314B2DE6-1C77-481B-A48C-9BCB5E9EF58A}">
      <dsp:nvSpPr>
        <dsp:cNvPr id="0" name=""/>
        <dsp:cNvSpPr/>
      </dsp:nvSpPr>
      <dsp:spPr>
        <a:xfrm>
          <a:off x="0" y="926133"/>
          <a:ext cx="6573951" cy="380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8723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800" kern="1200" dirty="0"/>
        </a:p>
      </dsp:txBody>
      <dsp:txXfrm>
        <a:off x="0" y="926133"/>
        <a:ext cx="6573951" cy="380880"/>
      </dsp:txXfrm>
    </dsp:sp>
    <dsp:sp modelId="{52D7F6CF-B74D-418B-9EAD-F5008DA58625}">
      <dsp:nvSpPr>
        <dsp:cNvPr id="0" name=""/>
        <dsp:cNvSpPr/>
      </dsp:nvSpPr>
      <dsp:spPr>
        <a:xfrm>
          <a:off x="0" y="1307013"/>
          <a:ext cx="6573951" cy="913678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1800-luku : Soluissa on tuma, eliöt koostuvat soluista, tumassa on kromosomeja</a:t>
          </a:r>
          <a:endParaRPr lang="en-US" sz="2300" kern="1200" dirty="0"/>
        </a:p>
      </dsp:txBody>
      <dsp:txXfrm>
        <a:off x="44602" y="1351615"/>
        <a:ext cx="6484747" cy="824474"/>
      </dsp:txXfrm>
    </dsp:sp>
    <dsp:sp modelId="{DB04A4E0-AEC8-4110-8BB1-22BC73F2F761}">
      <dsp:nvSpPr>
        <dsp:cNvPr id="0" name=""/>
        <dsp:cNvSpPr/>
      </dsp:nvSpPr>
      <dsp:spPr>
        <a:xfrm>
          <a:off x="0" y="2220691"/>
          <a:ext cx="6573951" cy="380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8723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800" kern="1200" dirty="0">
              <a:sym typeface="Wingdings"/>
            </a:rPr>
            <a:t>Solubiologian kehitys alkoi</a:t>
          </a:r>
          <a:endParaRPr lang="en-US" sz="1800" kern="1200" dirty="0"/>
        </a:p>
      </dsp:txBody>
      <dsp:txXfrm>
        <a:off x="0" y="2220691"/>
        <a:ext cx="6573951" cy="380880"/>
      </dsp:txXfrm>
    </dsp:sp>
    <dsp:sp modelId="{81B48A4B-FFF3-46B3-9801-FF0769612DBB}">
      <dsp:nvSpPr>
        <dsp:cNvPr id="0" name=""/>
        <dsp:cNvSpPr/>
      </dsp:nvSpPr>
      <dsp:spPr>
        <a:xfrm>
          <a:off x="0" y="2601571"/>
          <a:ext cx="6573951" cy="913678"/>
        </a:xfrm>
        <a:prstGeom prst="roundRect">
          <a:avLst/>
        </a:prstGeom>
        <a:solidFill>
          <a:srgbClr val="F6A8C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i-FI" sz="2300" kern="1200" dirty="0"/>
            <a:t>1900-luku : DNA ja geenit</a:t>
          </a:r>
          <a:endParaRPr lang="en-US" sz="2300" kern="1200" dirty="0"/>
        </a:p>
      </dsp:txBody>
      <dsp:txXfrm>
        <a:off x="44602" y="2646173"/>
        <a:ext cx="6484747" cy="824474"/>
      </dsp:txXfrm>
    </dsp:sp>
    <dsp:sp modelId="{4103F557-6FF1-49BF-9563-0B2022227EDD}">
      <dsp:nvSpPr>
        <dsp:cNvPr id="0" name=""/>
        <dsp:cNvSpPr/>
      </dsp:nvSpPr>
      <dsp:spPr>
        <a:xfrm>
          <a:off x="0" y="3515250"/>
          <a:ext cx="6573951" cy="380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8723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800" kern="1200" dirty="0">
              <a:sym typeface="Wingdings"/>
            </a:rPr>
            <a:t>mikrobiologia, perinnöllisyystiede, geenitekniikka</a:t>
          </a:r>
          <a:endParaRPr lang="en-US" sz="1800" kern="1200" dirty="0"/>
        </a:p>
      </dsp:txBody>
      <dsp:txXfrm>
        <a:off x="0" y="3515250"/>
        <a:ext cx="6573951" cy="3808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A56560-B5A2-4DA0-B807-2DFA0167A151}">
      <dsp:nvSpPr>
        <dsp:cNvPr id="0" name=""/>
        <dsp:cNvSpPr/>
      </dsp:nvSpPr>
      <dsp:spPr>
        <a:xfrm>
          <a:off x="0" y="4327"/>
          <a:ext cx="10352314" cy="111384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Yksisoluiset eliöt: mm. </a:t>
          </a:r>
          <a:r>
            <a:rPr lang="fi-FI" sz="2800" kern="1200" dirty="0" err="1"/>
            <a:t>arkeonit</a:t>
          </a:r>
          <a:r>
            <a:rPr lang="fi-FI" sz="2800" kern="1200" dirty="0"/>
            <a:t>, bakteerit, sieniin kuuluvat hiivat, yksisoluiset levät</a:t>
          </a:r>
          <a:endParaRPr lang="en-US" sz="2800" kern="1200" dirty="0"/>
        </a:p>
      </dsp:txBody>
      <dsp:txXfrm>
        <a:off x="54373" y="58700"/>
        <a:ext cx="10243568" cy="1005094"/>
      </dsp:txXfrm>
    </dsp:sp>
    <dsp:sp modelId="{E78E83B5-FB57-483F-AA75-73CC9480E533}">
      <dsp:nvSpPr>
        <dsp:cNvPr id="0" name=""/>
        <dsp:cNvSpPr/>
      </dsp:nvSpPr>
      <dsp:spPr>
        <a:xfrm>
          <a:off x="0" y="1198807"/>
          <a:ext cx="10352314" cy="111384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Monisoluiset eliöt: mm. eläimet, vihreät kasvit, sienet</a:t>
          </a:r>
          <a:endParaRPr lang="en-US" sz="2800" kern="1200" dirty="0"/>
        </a:p>
      </dsp:txBody>
      <dsp:txXfrm>
        <a:off x="54373" y="1253180"/>
        <a:ext cx="10243568" cy="1005094"/>
      </dsp:txXfrm>
    </dsp:sp>
    <dsp:sp modelId="{C365D3C0-DB31-41F9-82BA-435EA986CB20}">
      <dsp:nvSpPr>
        <dsp:cNvPr id="0" name=""/>
        <dsp:cNvSpPr/>
      </dsp:nvSpPr>
      <dsp:spPr>
        <a:xfrm>
          <a:off x="0" y="2393287"/>
          <a:ext cx="10352314" cy="111384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i-FI" sz="1800" kern="1200" dirty="0"/>
            <a:t>Yksisoluisuus</a:t>
          </a:r>
          <a:r>
            <a:rPr lang="fi-FI" sz="1800" kern="1200" dirty="0">
              <a:ea typeface="+mn-lt"/>
              <a:cs typeface="+mn-lt"/>
            </a:rPr>
            <a:t> </a:t>
          </a:r>
          <a:r>
            <a:rPr lang="mr-IN" sz="1800" kern="1200" dirty="0">
              <a:ea typeface="+mn-lt"/>
              <a:cs typeface="+mn-lt"/>
            </a:rPr>
            <a:t>→</a:t>
          </a:r>
          <a:r>
            <a:rPr lang="fi-FI" sz="1800" kern="1200" dirty="0"/>
            <a:t> solurykelmät</a:t>
          </a:r>
          <a:r>
            <a:rPr lang="fi-FI" sz="1800" kern="1200" dirty="0">
              <a:ea typeface="+mn-lt"/>
              <a:cs typeface="+mn-lt"/>
            </a:rPr>
            <a:t> </a:t>
          </a:r>
          <a:r>
            <a:rPr lang="mr-IN" sz="1800" kern="1200" dirty="0">
              <a:ea typeface="+mn-lt"/>
              <a:cs typeface="+mn-lt"/>
            </a:rPr>
            <a:t>→</a:t>
          </a:r>
          <a:r>
            <a:rPr lang="fi-FI" sz="1800" kern="1200" dirty="0"/>
            <a:t> solujen erikoistuminen ja solujen välinen viestintä </a:t>
          </a:r>
          <a:r>
            <a:rPr lang="mr-IN" sz="1800" kern="1200" dirty="0">
              <a:ea typeface="+mn-lt"/>
              <a:cs typeface="+mn-lt"/>
            </a:rPr>
            <a:t>→</a:t>
          </a:r>
          <a:r>
            <a:rPr lang="fi-FI" sz="1800" kern="1200" dirty="0"/>
            <a:t> monisoluisuus</a:t>
          </a:r>
          <a:endParaRPr lang="en-US" sz="1800" kern="1200" dirty="0"/>
        </a:p>
      </dsp:txBody>
      <dsp:txXfrm>
        <a:off x="54373" y="2447660"/>
        <a:ext cx="10243568" cy="1005094"/>
      </dsp:txXfrm>
    </dsp:sp>
    <dsp:sp modelId="{6104486A-2E8D-46BB-9818-323941B5FCE8}">
      <dsp:nvSpPr>
        <dsp:cNvPr id="0" name=""/>
        <dsp:cNvSpPr/>
      </dsp:nvSpPr>
      <dsp:spPr>
        <a:xfrm>
          <a:off x="0" y="3507127"/>
          <a:ext cx="10352314" cy="7534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8686" tIns="35560" rIns="199136" bIns="35560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None/>
          </a:pPr>
          <a:endParaRPr lang="en-U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None/>
          </a:pPr>
          <a:r>
            <a:rPr lang="fi-FI" sz="2200" kern="1200" dirty="0"/>
            <a:t>Viruksia ei luokitella eliökuntaan kuuluviksi </a:t>
          </a:r>
          <a:endParaRPr lang="en-US" sz="2200" kern="1200" dirty="0"/>
        </a:p>
      </dsp:txBody>
      <dsp:txXfrm>
        <a:off x="0" y="3507127"/>
        <a:ext cx="10352314" cy="7534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B19732-DBDF-4829-AB74-C56ADE14B56C}">
      <dsp:nvSpPr>
        <dsp:cNvPr id="0" name=""/>
        <dsp:cNvSpPr/>
      </dsp:nvSpPr>
      <dsp:spPr>
        <a:xfrm>
          <a:off x="0" y="36392"/>
          <a:ext cx="4438036" cy="1240200"/>
        </a:xfrm>
        <a:prstGeom prst="roundRect">
          <a:avLst/>
        </a:prstGeom>
        <a:solidFill>
          <a:srgbClr val="EC008C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000" kern="1200" dirty="0"/>
            <a:t>Koostuvat pääosin hiilestä, vedystä, typestä ja hapesta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</dsp:txBody>
      <dsp:txXfrm>
        <a:off x="60542" y="96934"/>
        <a:ext cx="4316952" cy="1119116"/>
      </dsp:txXfrm>
    </dsp:sp>
    <dsp:sp modelId="{9824FFF1-3003-4815-B245-4B6052EDD373}">
      <dsp:nvSpPr>
        <dsp:cNvPr id="0" name=""/>
        <dsp:cNvSpPr/>
      </dsp:nvSpPr>
      <dsp:spPr>
        <a:xfrm>
          <a:off x="0" y="1334192"/>
          <a:ext cx="4438036" cy="1240200"/>
        </a:xfrm>
        <a:prstGeom prst="roundRect">
          <a:avLst/>
        </a:prstGeom>
        <a:solidFill>
          <a:srgbClr val="F27CB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000" kern="1200" dirty="0"/>
            <a:t>Suuri pinta-ala suhteessa tilavuuteen</a:t>
          </a:r>
          <a:br>
            <a:rPr lang="fi-FI" sz="2000" kern="1200" dirty="0"/>
          </a:br>
          <a:r>
            <a:rPr lang="fi-FI" sz="2000" kern="1200" dirty="0"/>
            <a:t>	</a:t>
          </a:r>
          <a:r>
            <a:rPr lang="fi-FI" sz="2000" kern="1200" dirty="0">
              <a:sym typeface="Wingdings"/>
            </a:rPr>
            <a:t> nopea reaktiokyky 	ympäristön muutoksiin</a:t>
          </a:r>
          <a:endParaRPr lang="en-US" sz="2000" kern="1200" dirty="0"/>
        </a:p>
      </dsp:txBody>
      <dsp:txXfrm>
        <a:off x="60542" y="1394734"/>
        <a:ext cx="4316952" cy="1119116"/>
      </dsp:txXfrm>
    </dsp:sp>
    <dsp:sp modelId="{93302375-2E69-4CB0-A497-F036008F00DD}">
      <dsp:nvSpPr>
        <dsp:cNvPr id="0" name=""/>
        <dsp:cNvSpPr/>
      </dsp:nvSpPr>
      <dsp:spPr>
        <a:xfrm>
          <a:off x="0" y="2631992"/>
          <a:ext cx="4438036" cy="1240200"/>
        </a:xfrm>
        <a:prstGeom prst="roundRect">
          <a:avLst/>
        </a:prstGeom>
        <a:solidFill>
          <a:srgbClr val="F6A8CB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i-FI" sz="2000" kern="1200" dirty="0">
              <a:sym typeface="Wingdings"/>
            </a:rPr>
            <a:t>Koko ja muoto vaihtelee</a:t>
          </a:r>
          <a:endParaRPr lang="en-US" sz="2000" kern="1200" dirty="0"/>
        </a:p>
      </dsp:txBody>
      <dsp:txXfrm>
        <a:off x="60542" y="2692534"/>
        <a:ext cx="4316952" cy="111911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09E92F-6F5C-45E9-A1CE-32377E6A2732}">
      <dsp:nvSpPr>
        <dsp:cNvPr id="0" name=""/>
        <dsp:cNvSpPr/>
      </dsp:nvSpPr>
      <dsp:spPr>
        <a:xfrm>
          <a:off x="0" y="711549"/>
          <a:ext cx="10515600" cy="671580"/>
        </a:xfrm>
        <a:prstGeom prst="roundRect">
          <a:avLst/>
        </a:prstGeom>
        <a:solidFill>
          <a:srgbClr val="28B5E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Solut muodostuvat pääosin vedestä</a:t>
          </a:r>
          <a:endParaRPr lang="en-US" sz="2800" kern="1200" dirty="0"/>
        </a:p>
      </dsp:txBody>
      <dsp:txXfrm>
        <a:off x="32784" y="744333"/>
        <a:ext cx="10450032" cy="606012"/>
      </dsp:txXfrm>
    </dsp:sp>
    <dsp:sp modelId="{2EC88457-289A-46E4-A14B-270DDDE56BE6}">
      <dsp:nvSpPr>
        <dsp:cNvPr id="0" name=""/>
        <dsp:cNvSpPr/>
      </dsp:nvSpPr>
      <dsp:spPr>
        <a:xfrm>
          <a:off x="0" y="1463769"/>
          <a:ext cx="10515600" cy="671580"/>
        </a:xfrm>
        <a:prstGeom prst="roundRect">
          <a:avLst/>
        </a:prstGeom>
        <a:solidFill>
          <a:srgbClr val="54C6EE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Vesi on hyvä liuotin ja siinä tapahtuvat solujen biokemialliset reaktiot.</a:t>
          </a:r>
          <a:endParaRPr lang="en-US" sz="2800" kern="1200" dirty="0"/>
        </a:p>
      </dsp:txBody>
      <dsp:txXfrm>
        <a:off x="32784" y="1496553"/>
        <a:ext cx="10450032" cy="606012"/>
      </dsp:txXfrm>
    </dsp:sp>
    <dsp:sp modelId="{F3997766-A9C2-4C2F-B6FC-DFAEF597B2A6}">
      <dsp:nvSpPr>
        <dsp:cNvPr id="0" name=""/>
        <dsp:cNvSpPr/>
      </dsp:nvSpPr>
      <dsp:spPr>
        <a:xfrm>
          <a:off x="0" y="2215989"/>
          <a:ext cx="10515600" cy="671580"/>
        </a:xfrm>
        <a:prstGeom prst="roundRect">
          <a:avLst/>
        </a:prstGeom>
        <a:solidFill>
          <a:srgbClr val="89D7F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i-FI" sz="2800" kern="1200">
              <a:cs typeface="Calibri"/>
            </a:rPr>
            <a:t>Vesi on monien solujen reaktioiden lähtöaine tai reaktiotuote.</a:t>
          </a:r>
          <a:endParaRPr lang="en-US" sz="2800" kern="1200"/>
        </a:p>
      </dsp:txBody>
      <dsp:txXfrm>
        <a:off x="32784" y="2248773"/>
        <a:ext cx="10450032" cy="606012"/>
      </dsp:txXfrm>
    </dsp:sp>
    <dsp:sp modelId="{F845C35F-AF37-4D46-AD6F-379BC51B5377}">
      <dsp:nvSpPr>
        <dsp:cNvPr id="0" name=""/>
        <dsp:cNvSpPr/>
      </dsp:nvSpPr>
      <dsp:spPr>
        <a:xfrm>
          <a:off x="0" y="2968209"/>
          <a:ext cx="10515600" cy="671580"/>
        </a:xfrm>
        <a:prstGeom prst="roundRect">
          <a:avLst/>
        </a:prstGeom>
        <a:solidFill>
          <a:srgbClr val="B6E7F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800" kern="1200" dirty="0">
              <a:cs typeface="Calibri" panose="020F0502020204030204"/>
            </a:rPr>
            <a:t>Vesi on hyvä lämmönkuljettaja ja lämmöntasaaja</a:t>
          </a:r>
          <a:endParaRPr lang="en-US" sz="2800" kern="1200" dirty="0"/>
        </a:p>
      </dsp:txBody>
      <dsp:txXfrm>
        <a:off x="32784" y="3000993"/>
        <a:ext cx="10450032" cy="60601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F30E76-D9FB-41D6-9499-EE3862DBD7AC}">
      <dsp:nvSpPr>
        <dsp:cNvPr id="0" name=""/>
        <dsp:cNvSpPr/>
      </dsp:nvSpPr>
      <dsp:spPr>
        <a:xfrm>
          <a:off x="0" y="64674"/>
          <a:ext cx="10515600" cy="455715"/>
        </a:xfrm>
        <a:prstGeom prst="roundRect">
          <a:avLst/>
        </a:prstGeom>
        <a:solidFill>
          <a:srgbClr val="A9A9D5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900" kern="1200" dirty="0">
              <a:cs typeface="Calibri"/>
            </a:rPr>
            <a:t>Hiilihydraatit: </a:t>
          </a:r>
          <a:endParaRPr lang="en-US" sz="1900" kern="1200" dirty="0"/>
        </a:p>
      </dsp:txBody>
      <dsp:txXfrm>
        <a:off x="22246" y="86920"/>
        <a:ext cx="10471108" cy="411223"/>
      </dsp:txXfrm>
    </dsp:sp>
    <dsp:sp modelId="{86AB2626-095A-4738-A62A-718705229945}">
      <dsp:nvSpPr>
        <dsp:cNvPr id="0" name=""/>
        <dsp:cNvSpPr/>
      </dsp:nvSpPr>
      <dsp:spPr>
        <a:xfrm>
          <a:off x="0" y="520389"/>
          <a:ext cx="10515600" cy="5211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500" kern="1200" dirty="0">
              <a:cs typeface="Calibri"/>
            </a:rPr>
            <a:t>hyviä energialähteitä ja energiavarastoja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500" kern="1200" dirty="0">
              <a:cs typeface="Calibri"/>
            </a:rPr>
            <a:t>pitkäketjuiset hiilihydraatit toimivat soluissa tukirakenteina</a:t>
          </a:r>
        </a:p>
      </dsp:txBody>
      <dsp:txXfrm>
        <a:off x="0" y="520389"/>
        <a:ext cx="10515600" cy="521122"/>
      </dsp:txXfrm>
    </dsp:sp>
    <dsp:sp modelId="{96B1D000-36B0-4942-9FCE-181D5FF06423}">
      <dsp:nvSpPr>
        <dsp:cNvPr id="0" name=""/>
        <dsp:cNvSpPr/>
      </dsp:nvSpPr>
      <dsp:spPr>
        <a:xfrm>
          <a:off x="0" y="1041511"/>
          <a:ext cx="10515600" cy="455715"/>
        </a:xfrm>
        <a:prstGeom prst="roundRect">
          <a:avLst/>
        </a:prstGeom>
        <a:solidFill>
          <a:srgbClr val="FFD55D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900" kern="1200">
              <a:cs typeface="Calibri"/>
            </a:rPr>
            <a:t>Lipidit eli rasva-aineet:</a:t>
          </a:r>
          <a:endParaRPr lang="en-US" sz="1900" kern="1200" dirty="0"/>
        </a:p>
      </dsp:txBody>
      <dsp:txXfrm>
        <a:off x="22246" y="1063757"/>
        <a:ext cx="10471108" cy="411223"/>
      </dsp:txXfrm>
    </dsp:sp>
    <dsp:sp modelId="{3F0B3A14-3794-4058-8794-D3E07CA2BC95}">
      <dsp:nvSpPr>
        <dsp:cNvPr id="0" name=""/>
        <dsp:cNvSpPr/>
      </dsp:nvSpPr>
      <dsp:spPr>
        <a:xfrm>
          <a:off x="0" y="1497226"/>
          <a:ext cx="10515600" cy="10422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500" kern="1200">
              <a:cs typeface="Calibri"/>
            </a:rPr>
            <a:t>Triglyseridit energiavarastoina ja -lähteinä</a:t>
          </a:r>
          <a:endParaRPr lang="fi-FI" sz="1500" kern="1200" dirty="0">
            <a:cs typeface="Calibri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500" kern="1200" dirty="0" err="1">
              <a:cs typeface="Calibri"/>
            </a:rPr>
            <a:t>Fosfolipidit</a:t>
          </a:r>
          <a:r>
            <a:rPr lang="fi-FI" sz="1500" kern="1200" dirty="0">
              <a:cs typeface="Calibri"/>
            </a:rPr>
            <a:t> kalvorakenteiden rakennusosia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500" kern="1200">
              <a:cs typeface="Calibri"/>
            </a:rPr>
            <a:t>Steroidit hormoneja</a:t>
          </a:r>
          <a:endParaRPr lang="fi-FI" sz="1500" kern="1200" dirty="0">
            <a:cs typeface="Calibri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500" kern="1200" dirty="0">
              <a:cs typeface="Calibri"/>
            </a:rPr>
            <a:t>Karotenoidit väriaineita</a:t>
          </a:r>
        </a:p>
      </dsp:txBody>
      <dsp:txXfrm>
        <a:off x="0" y="1497226"/>
        <a:ext cx="10515600" cy="1042245"/>
      </dsp:txXfrm>
    </dsp:sp>
    <dsp:sp modelId="{1619D632-2984-44FA-A195-7E2CE7EDB175}">
      <dsp:nvSpPr>
        <dsp:cNvPr id="0" name=""/>
        <dsp:cNvSpPr/>
      </dsp:nvSpPr>
      <dsp:spPr>
        <a:xfrm>
          <a:off x="0" y="2539471"/>
          <a:ext cx="10515600" cy="455715"/>
        </a:xfrm>
        <a:prstGeom prst="roundRect">
          <a:avLst/>
        </a:prstGeom>
        <a:solidFill>
          <a:srgbClr val="F27CB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900" kern="1200">
              <a:ea typeface="+mn-lt"/>
              <a:cs typeface="+mn-lt"/>
            </a:rPr>
            <a:t>Proteiinit:</a:t>
          </a:r>
          <a:endParaRPr lang="fi-FI" sz="1900" kern="1200" dirty="0">
            <a:cs typeface="Calibri"/>
          </a:endParaRPr>
        </a:p>
      </dsp:txBody>
      <dsp:txXfrm>
        <a:off x="22246" y="2561717"/>
        <a:ext cx="10471108" cy="411223"/>
      </dsp:txXfrm>
    </dsp:sp>
    <dsp:sp modelId="{1D4395BA-4FB5-4B14-BB2C-1520E10B67E9}">
      <dsp:nvSpPr>
        <dsp:cNvPr id="0" name=""/>
        <dsp:cNvSpPr/>
      </dsp:nvSpPr>
      <dsp:spPr>
        <a:xfrm>
          <a:off x="0" y="2995186"/>
          <a:ext cx="10515600" cy="314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500" kern="1200">
              <a:ea typeface="+mn-lt"/>
              <a:cs typeface="+mn-lt"/>
            </a:rPr>
            <a:t>Rakenneosina, hormoneina, entsyymeinä</a:t>
          </a:r>
          <a:endParaRPr lang="fi-FI" sz="1500" kern="1200" dirty="0">
            <a:ea typeface="+mn-lt"/>
            <a:cs typeface="+mn-lt"/>
          </a:endParaRPr>
        </a:p>
      </dsp:txBody>
      <dsp:txXfrm>
        <a:off x="0" y="2995186"/>
        <a:ext cx="10515600" cy="314640"/>
      </dsp:txXfrm>
    </dsp:sp>
    <dsp:sp modelId="{1011A6EA-F385-44E1-8CC9-E42EFEA3569E}">
      <dsp:nvSpPr>
        <dsp:cNvPr id="0" name=""/>
        <dsp:cNvSpPr/>
      </dsp:nvSpPr>
      <dsp:spPr>
        <a:xfrm>
          <a:off x="0" y="3309826"/>
          <a:ext cx="10515600" cy="455715"/>
        </a:xfrm>
        <a:prstGeom prst="roundRect">
          <a:avLst/>
        </a:prstGeom>
        <a:solidFill>
          <a:srgbClr val="54C6EE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900" kern="1200">
              <a:cs typeface="Calibri"/>
            </a:rPr>
            <a:t>Nukleiinihapot:</a:t>
          </a:r>
          <a:endParaRPr lang="fi-FI" sz="1900" kern="1200" dirty="0">
            <a:cs typeface="Calibri"/>
          </a:endParaRPr>
        </a:p>
      </dsp:txBody>
      <dsp:txXfrm>
        <a:off x="22246" y="3332072"/>
        <a:ext cx="10471108" cy="411223"/>
      </dsp:txXfrm>
    </dsp:sp>
    <dsp:sp modelId="{637DD328-0A44-48CF-9AE3-EAD3B6D9B973}">
      <dsp:nvSpPr>
        <dsp:cNvPr id="0" name=""/>
        <dsp:cNvSpPr/>
      </dsp:nvSpPr>
      <dsp:spPr>
        <a:xfrm>
          <a:off x="0" y="3765541"/>
          <a:ext cx="10515600" cy="5211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500" kern="1200">
              <a:cs typeface="Calibri"/>
            </a:rPr>
            <a:t>Solujen toimintaa ohjaava perinnöllinen informaatio</a:t>
          </a:r>
          <a:endParaRPr lang="fi-FI" sz="1500" kern="1200" dirty="0">
            <a:cs typeface="Calibri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500" kern="1200">
              <a:cs typeface="Calibri"/>
            </a:rPr>
            <a:t>DNA ja RNA</a:t>
          </a:r>
          <a:endParaRPr lang="fi-FI" sz="1500" kern="1200" dirty="0">
            <a:cs typeface="Calibri"/>
          </a:endParaRPr>
        </a:p>
      </dsp:txBody>
      <dsp:txXfrm>
        <a:off x="0" y="3765541"/>
        <a:ext cx="10515600" cy="5211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4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5.xm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5D13CC36-B950-4F02-9BAF-9A7EB26739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4F2E2428-58BA-458D-AA54-05502E63F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748215" cy="6857999"/>
          </a:xfrm>
          <a:custGeom>
            <a:avLst/>
            <a:gdLst>
              <a:gd name="connsiteX0" fmla="*/ 0 w 9024730"/>
              <a:gd name="connsiteY0" fmla="*/ 0 h 6857999"/>
              <a:gd name="connsiteX1" fmla="*/ 9024730 w 9024730"/>
              <a:gd name="connsiteY1" fmla="*/ 0 h 6857999"/>
              <a:gd name="connsiteX2" fmla="*/ 9024730 w 9024730"/>
              <a:gd name="connsiteY2" fmla="*/ 2 h 6857999"/>
              <a:gd name="connsiteX3" fmla="*/ 8447016 w 9024730"/>
              <a:gd name="connsiteY3" fmla="*/ 2 h 6857999"/>
              <a:gd name="connsiteX4" fmla="*/ 8441214 w 9024730"/>
              <a:gd name="connsiteY4" fmla="*/ 14562 h 6857999"/>
              <a:gd name="connsiteX5" fmla="*/ 8445389 w 9024730"/>
              <a:gd name="connsiteY5" fmla="*/ 59077 h 6857999"/>
              <a:gd name="connsiteX6" fmla="*/ 8437086 w 9024730"/>
              <a:gd name="connsiteY6" fmla="*/ 107668 h 6857999"/>
              <a:gd name="connsiteX7" fmla="*/ 8458599 w 9024730"/>
              <a:gd name="connsiteY7" fmla="*/ 246136 h 6857999"/>
              <a:gd name="connsiteX8" fmla="*/ 8433237 w 9024730"/>
              <a:gd name="connsiteY8" fmla="*/ 372908 h 6857999"/>
              <a:gd name="connsiteX9" fmla="*/ 8430194 w 9024730"/>
              <a:gd name="connsiteY9" fmla="*/ 450607 h 6857999"/>
              <a:gd name="connsiteX10" fmla="*/ 8443315 w 9024730"/>
              <a:gd name="connsiteY10" fmla="*/ 812800 h 6857999"/>
              <a:gd name="connsiteX11" fmla="*/ 8453042 w 9024730"/>
              <a:gd name="connsiteY11" fmla="*/ 912727 h 6857999"/>
              <a:gd name="connsiteX12" fmla="*/ 8451649 w 9024730"/>
              <a:gd name="connsiteY12" fmla="*/ 989950 h 6857999"/>
              <a:gd name="connsiteX13" fmla="*/ 8455592 w 9024730"/>
              <a:gd name="connsiteY13" fmla="*/ 1141745 h 6857999"/>
              <a:gd name="connsiteX14" fmla="*/ 8470203 w 9024730"/>
              <a:gd name="connsiteY14" fmla="*/ 1265454 h 6857999"/>
              <a:gd name="connsiteX15" fmla="*/ 8499638 w 9024730"/>
              <a:gd name="connsiteY15" fmla="*/ 1385480 h 6857999"/>
              <a:gd name="connsiteX16" fmla="*/ 8518660 w 9024730"/>
              <a:gd name="connsiteY16" fmla="*/ 1458060 h 6857999"/>
              <a:gd name="connsiteX17" fmla="*/ 8539125 w 9024730"/>
              <a:gd name="connsiteY17" fmla="*/ 1513175 h 6857999"/>
              <a:gd name="connsiteX18" fmla="*/ 8570281 w 9024730"/>
              <a:gd name="connsiteY18" fmla="*/ 1570809 h 6857999"/>
              <a:gd name="connsiteX19" fmla="*/ 8605212 w 9024730"/>
              <a:gd name="connsiteY19" fmla="*/ 1638391 h 6857999"/>
              <a:gd name="connsiteX20" fmla="*/ 8626457 w 9024730"/>
              <a:gd name="connsiteY20" fmla="*/ 1742490 h 6857999"/>
              <a:gd name="connsiteX21" fmla="*/ 8654861 w 9024730"/>
              <a:gd name="connsiteY21" fmla="*/ 1818229 h 6857999"/>
              <a:gd name="connsiteX22" fmla="*/ 8648005 w 9024730"/>
              <a:gd name="connsiteY22" fmla="*/ 1862723 h 6857999"/>
              <a:gd name="connsiteX23" fmla="*/ 8654469 w 9024730"/>
              <a:gd name="connsiteY23" fmla="*/ 1917476 h 6857999"/>
              <a:gd name="connsiteX24" fmla="*/ 8649702 w 9024730"/>
              <a:gd name="connsiteY24" fmla="*/ 1972204 h 6857999"/>
              <a:gd name="connsiteX25" fmla="*/ 8656357 w 9024730"/>
              <a:gd name="connsiteY25" fmla="*/ 2054291 h 6857999"/>
              <a:gd name="connsiteX26" fmla="*/ 8648660 w 9024730"/>
              <a:gd name="connsiteY26" fmla="*/ 2227417 h 6857999"/>
              <a:gd name="connsiteX27" fmla="*/ 8607609 w 9024730"/>
              <a:gd name="connsiteY27" fmla="*/ 2510933 h 6857999"/>
              <a:gd name="connsiteX28" fmla="*/ 8608432 w 9024730"/>
              <a:gd name="connsiteY28" fmla="*/ 2741866 h 6857999"/>
              <a:gd name="connsiteX29" fmla="*/ 8619112 w 9024730"/>
              <a:gd name="connsiteY29" fmla="*/ 2864935 h 6857999"/>
              <a:gd name="connsiteX30" fmla="*/ 8627742 w 9024730"/>
              <a:gd name="connsiteY30" fmla="*/ 2950807 h 6857999"/>
              <a:gd name="connsiteX31" fmla="*/ 8611822 w 9024730"/>
              <a:gd name="connsiteY31" fmla="*/ 2978246 h 6857999"/>
              <a:gd name="connsiteX32" fmla="*/ 8608239 w 9024730"/>
              <a:gd name="connsiteY32" fmla="*/ 2995916 h 6857999"/>
              <a:gd name="connsiteX33" fmla="*/ 8598647 w 9024730"/>
              <a:gd name="connsiteY33" fmla="*/ 2998648 h 6857999"/>
              <a:gd name="connsiteX34" fmla="*/ 8587108 w 9024730"/>
              <a:gd name="connsiteY34" fmla="*/ 3023630 h 6857999"/>
              <a:gd name="connsiteX35" fmla="*/ 8577885 w 9024730"/>
              <a:gd name="connsiteY35" fmla="*/ 3096975 h 6857999"/>
              <a:gd name="connsiteX36" fmla="*/ 8557492 w 9024730"/>
              <a:gd name="connsiteY36" fmla="*/ 3216657 h 6857999"/>
              <a:gd name="connsiteX37" fmla="*/ 8560894 w 9024730"/>
              <a:gd name="connsiteY37" fmla="*/ 3310980 h 6857999"/>
              <a:gd name="connsiteX38" fmla="*/ 8547852 w 9024730"/>
              <a:gd name="connsiteY38" fmla="*/ 3344725 h 6857999"/>
              <a:gd name="connsiteX39" fmla="*/ 8535427 w 9024730"/>
              <a:gd name="connsiteY39" fmla="*/ 3393250 h 6857999"/>
              <a:gd name="connsiteX40" fmla="*/ 8520092 w 9024730"/>
              <a:gd name="connsiteY40" fmla="*/ 3514536 h 6857999"/>
              <a:gd name="connsiteX41" fmla="*/ 8497231 w 9024730"/>
              <a:gd name="connsiteY41" fmla="*/ 3686149 h 6857999"/>
              <a:gd name="connsiteX42" fmla="*/ 8489799 w 9024730"/>
              <a:gd name="connsiteY42" fmla="*/ 3692208 h 6857999"/>
              <a:gd name="connsiteX43" fmla="*/ 8475804 w 9024730"/>
              <a:gd name="connsiteY43" fmla="*/ 3776022 h 6857999"/>
              <a:gd name="connsiteX44" fmla="*/ 8471279 w 9024730"/>
              <a:gd name="connsiteY44" fmla="*/ 3977138 h 6857999"/>
              <a:gd name="connsiteX45" fmla="*/ 8408913 w 9024730"/>
              <a:gd name="connsiteY45" fmla="*/ 4222149 h 6857999"/>
              <a:gd name="connsiteX46" fmla="*/ 8402112 w 9024730"/>
              <a:gd name="connsiteY46" fmla="*/ 4364683 h 6857999"/>
              <a:gd name="connsiteX47" fmla="*/ 8393355 w 9024730"/>
              <a:gd name="connsiteY47" fmla="*/ 4462471 h 6857999"/>
              <a:gd name="connsiteX48" fmla="*/ 8376166 w 9024730"/>
              <a:gd name="connsiteY48" fmla="*/ 4574052 h 6857999"/>
              <a:gd name="connsiteX49" fmla="*/ 8341678 w 9024730"/>
              <a:gd name="connsiteY49" fmla="*/ 4667756 h 6857999"/>
              <a:gd name="connsiteX50" fmla="*/ 8273661 w 9024730"/>
              <a:gd name="connsiteY50" fmla="*/ 4799019 h 6857999"/>
              <a:gd name="connsiteX51" fmla="*/ 8256132 w 9024730"/>
              <a:gd name="connsiteY51" fmla="*/ 4849614 h 6857999"/>
              <a:gd name="connsiteX52" fmla="*/ 8226804 w 9024730"/>
              <a:gd name="connsiteY52" fmla="*/ 4919971 h 6857999"/>
              <a:gd name="connsiteX53" fmla="*/ 8171825 w 9024730"/>
              <a:gd name="connsiteY53" fmla="*/ 5010766 h 6857999"/>
              <a:gd name="connsiteX54" fmla="*/ 8143172 w 9024730"/>
              <a:gd name="connsiteY54" fmla="*/ 5088190 h 6857999"/>
              <a:gd name="connsiteX55" fmla="*/ 8126363 w 9024730"/>
              <a:gd name="connsiteY55" fmla="*/ 5143922 h 6857999"/>
              <a:gd name="connsiteX56" fmla="*/ 8103782 w 9024730"/>
              <a:gd name="connsiteY56" fmla="*/ 5284346 h 6857999"/>
              <a:gd name="connsiteX57" fmla="*/ 8084361 w 9024730"/>
              <a:gd name="connsiteY57" fmla="*/ 5390948 h 6857999"/>
              <a:gd name="connsiteX58" fmla="*/ 8062552 w 9024730"/>
              <a:gd name="connsiteY58" fmla="*/ 5470854 h 6857999"/>
              <a:gd name="connsiteX59" fmla="*/ 8057342 w 9024730"/>
              <a:gd name="connsiteY59" fmla="*/ 5529643 h 6857999"/>
              <a:gd name="connsiteX60" fmla="*/ 8044923 w 9024730"/>
              <a:gd name="connsiteY60" fmla="*/ 5597292 h 6857999"/>
              <a:gd name="connsiteX61" fmla="*/ 8035233 w 9024730"/>
              <a:gd name="connsiteY61" fmla="*/ 5608899 h 6857999"/>
              <a:gd name="connsiteX62" fmla="*/ 8018178 w 9024730"/>
              <a:gd name="connsiteY62" fmla="*/ 5684911 h 6857999"/>
              <a:gd name="connsiteX63" fmla="*/ 8018018 w 9024730"/>
              <a:gd name="connsiteY63" fmla="*/ 5755776 h 6857999"/>
              <a:gd name="connsiteX64" fmla="*/ 8008640 w 9024730"/>
              <a:gd name="connsiteY64" fmla="*/ 5889599 h 6857999"/>
              <a:gd name="connsiteX65" fmla="*/ 8013542 w 9024730"/>
              <a:gd name="connsiteY65" fmla="*/ 5989744 h 6857999"/>
              <a:gd name="connsiteX66" fmla="*/ 7980757 w 9024730"/>
              <a:gd name="connsiteY66" fmla="*/ 6084926 h 6857999"/>
              <a:gd name="connsiteX67" fmla="*/ 7975907 w 9024730"/>
              <a:gd name="connsiteY67" fmla="*/ 6346549 h 6857999"/>
              <a:gd name="connsiteX68" fmla="*/ 7974221 w 9024730"/>
              <a:gd name="connsiteY68" fmla="*/ 6527527 h 6857999"/>
              <a:gd name="connsiteX69" fmla="*/ 7979135 w 9024730"/>
              <a:gd name="connsiteY69" fmla="*/ 6627129 h 6857999"/>
              <a:gd name="connsiteX70" fmla="*/ 7979404 w 9024730"/>
              <a:gd name="connsiteY70" fmla="*/ 6694819 h 6857999"/>
              <a:gd name="connsiteX71" fmla="*/ 8009526 w 9024730"/>
              <a:gd name="connsiteY71" fmla="*/ 6765445 h 6857999"/>
              <a:gd name="connsiteX72" fmla="*/ 8018211 w 9024730"/>
              <a:gd name="connsiteY72" fmla="*/ 6844697 h 6857999"/>
              <a:gd name="connsiteX73" fmla="*/ 8019608 w 9024730"/>
              <a:gd name="connsiteY73" fmla="*/ 6857999 h 6857999"/>
              <a:gd name="connsiteX74" fmla="*/ 0 w 9024730"/>
              <a:gd name="connsiteY7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9024730" h="6857999">
                <a:moveTo>
                  <a:pt x="0" y="0"/>
                </a:moveTo>
                <a:lnTo>
                  <a:pt x="9024730" y="0"/>
                </a:lnTo>
                <a:lnTo>
                  <a:pt x="9024730" y="2"/>
                </a:lnTo>
                <a:lnTo>
                  <a:pt x="8447016" y="2"/>
                </a:lnTo>
                <a:lnTo>
                  <a:pt x="8441214" y="14562"/>
                </a:lnTo>
                <a:lnTo>
                  <a:pt x="8445389" y="59077"/>
                </a:lnTo>
                <a:cubicBezTo>
                  <a:pt x="8445971" y="76949"/>
                  <a:pt x="8436504" y="89796"/>
                  <a:pt x="8437086" y="107668"/>
                </a:cubicBezTo>
                <a:cubicBezTo>
                  <a:pt x="8417947" y="138162"/>
                  <a:pt x="8459241" y="201929"/>
                  <a:pt x="8458599" y="246136"/>
                </a:cubicBezTo>
                <a:cubicBezTo>
                  <a:pt x="8457958" y="290343"/>
                  <a:pt x="8471649" y="364179"/>
                  <a:pt x="8433237" y="372908"/>
                </a:cubicBezTo>
                <a:cubicBezTo>
                  <a:pt x="8426916" y="431308"/>
                  <a:pt x="8438389" y="357606"/>
                  <a:pt x="8430194" y="450607"/>
                </a:cubicBezTo>
                <a:cubicBezTo>
                  <a:pt x="8466727" y="551950"/>
                  <a:pt x="8430182" y="787036"/>
                  <a:pt x="8443315" y="812800"/>
                </a:cubicBezTo>
                <a:cubicBezTo>
                  <a:pt x="8478999" y="860799"/>
                  <a:pt x="8435788" y="854953"/>
                  <a:pt x="8453042" y="912727"/>
                </a:cubicBezTo>
                <a:cubicBezTo>
                  <a:pt x="8462900" y="945986"/>
                  <a:pt x="8451223" y="951781"/>
                  <a:pt x="8451649" y="989950"/>
                </a:cubicBezTo>
                <a:cubicBezTo>
                  <a:pt x="8452074" y="1028120"/>
                  <a:pt x="8452500" y="1095828"/>
                  <a:pt x="8455592" y="1141745"/>
                </a:cubicBezTo>
                <a:cubicBezTo>
                  <a:pt x="8458684" y="1187662"/>
                  <a:pt x="8470047" y="1234783"/>
                  <a:pt x="8470203" y="1265454"/>
                </a:cubicBezTo>
                <a:cubicBezTo>
                  <a:pt x="8458947" y="1304052"/>
                  <a:pt x="8496012" y="1370755"/>
                  <a:pt x="8499638" y="1385480"/>
                </a:cubicBezTo>
                <a:cubicBezTo>
                  <a:pt x="8514485" y="1422714"/>
                  <a:pt x="8525070" y="1428103"/>
                  <a:pt x="8518660" y="1458060"/>
                </a:cubicBezTo>
                <a:cubicBezTo>
                  <a:pt x="8518783" y="1468057"/>
                  <a:pt x="8539003" y="1503177"/>
                  <a:pt x="8539125" y="1513175"/>
                </a:cubicBezTo>
                <a:lnTo>
                  <a:pt x="8570281" y="1570809"/>
                </a:lnTo>
                <a:cubicBezTo>
                  <a:pt x="8597636" y="1617136"/>
                  <a:pt x="8594573" y="1601443"/>
                  <a:pt x="8605212" y="1638391"/>
                </a:cubicBezTo>
                <a:cubicBezTo>
                  <a:pt x="8629645" y="1719640"/>
                  <a:pt x="8613884" y="1715203"/>
                  <a:pt x="8626457" y="1742490"/>
                </a:cubicBezTo>
                <a:lnTo>
                  <a:pt x="8654861" y="1818229"/>
                </a:lnTo>
                <a:cubicBezTo>
                  <a:pt x="8657202" y="1824059"/>
                  <a:pt x="8651899" y="1851211"/>
                  <a:pt x="8648005" y="1862723"/>
                </a:cubicBezTo>
                <a:lnTo>
                  <a:pt x="8654469" y="1917476"/>
                </a:lnTo>
                <a:lnTo>
                  <a:pt x="8649702" y="1972204"/>
                </a:lnTo>
                <a:cubicBezTo>
                  <a:pt x="8652251" y="1979569"/>
                  <a:pt x="8651461" y="2048203"/>
                  <a:pt x="8656357" y="2054291"/>
                </a:cubicBezTo>
                <a:cubicBezTo>
                  <a:pt x="8672645" y="2141657"/>
                  <a:pt x="8632397" y="2189849"/>
                  <a:pt x="8648660" y="2227417"/>
                </a:cubicBezTo>
                <a:cubicBezTo>
                  <a:pt x="8639941" y="2317591"/>
                  <a:pt x="8613796" y="2407644"/>
                  <a:pt x="8607609" y="2510933"/>
                </a:cubicBezTo>
                <a:cubicBezTo>
                  <a:pt x="8633490" y="2597916"/>
                  <a:pt x="8602674" y="2649734"/>
                  <a:pt x="8608432" y="2741866"/>
                </a:cubicBezTo>
                <a:cubicBezTo>
                  <a:pt x="8630300" y="2779815"/>
                  <a:pt x="8631929" y="2817058"/>
                  <a:pt x="8619112" y="2864935"/>
                </a:cubicBezTo>
                <a:cubicBezTo>
                  <a:pt x="8655820" y="2860552"/>
                  <a:pt x="8588374" y="2937673"/>
                  <a:pt x="8627742" y="2950807"/>
                </a:cubicBezTo>
                <a:lnTo>
                  <a:pt x="8611822" y="2978246"/>
                </a:lnTo>
                <a:lnTo>
                  <a:pt x="8608239" y="2995916"/>
                </a:lnTo>
                <a:lnTo>
                  <a:pt x="8598647" y="2998648"/>
                </a:lnTo>
                <a:lnTo>
                  <a:pt x="8587108" y="3023630"/>
                </a:lnTo>
                <a:cubicBezTo>
                  <a:pt x="8584111" y="3033333"/>
                  <a:pt x="8577413" y="3084375"/>
                  <a:pt x="8577885" y="3096975"/>
                </a:cubicBezTo>
                <a:cubicBezTo>
                  <a:pt x="8594321" y="3142205"/>
                  <a:pt x="8535131" y="3160433"/>
                  <a:pt x="8557492" y="3216657"/>
                </a:cubicBezTo>
                <a:cubicBezTo>
                  <a:pt x="8562518" y="3237178"/>
                  <a:pt x="8573573" y="3299737"/>
                  <a:pt x="8560894" y="3310980"/>
                </a:cubicBezTo>
                <a:cubicBezTo>
                  <a:pt x="8557601" y="3323902"/>
                  <a:pt x="8561083" y="3339340"/>
                  <a:pt x="8547852" y="3344725"/>
                </a:cubicBezTo>
                <a:cubicBezTo>
                  <a:pt x="8531788" y="3353908"/>
                  <a:pt x="8553430" y="3400659"/>
                  <a:pt x="8535427" y="3393250"/>
                </a:cubicBezTo>
                <a:cubicBezTo>
                  <a:pt x="8550195" y="3426421"/>
                  <a:pt x="8529553" y="3487753"/>
                  <a:pt x="8520092" y="3514536"/>
                </a:cubicBezTo>
                <a:cubicBezTo>
                  <a:pt x="8513726" y="3563353"/>
                  <a:pt x="8500070" y="3650327"/>
                  <a:pt x="8497231" y="3686149"/>
                </a:cubicBezTo>
                <a:cubicBezTo>
                  <a:pt x="8494574" y="3687657"/>
                  <a:pt x="8493370" y="3677229"/>
                  <a:pt x="8489799" y="3692208"/>
                </a:cubicBezTo>
                <a:cubicBezTo>
                  <a:pt x="8486228" y="3707187"/>
                  <a:pt x="8465938" y="3757479"/>
                  <a:pt x="8475804" y="3776022"/>
                </a:cubicBezTo>
                <a:cubicBezTo>
                  <a:pt x="8441061" y="3875691"/>
                  <a:pt x="8487451" y="3939839"/>
                  <a:pt x="8471279" y="3977138"/>
                </a:cubicBezTo>
                <a:cubicBezTo>
                  <a:pt x="8465599" y="4067300"/>
                  <a:pt x="8419685" y="4164564"/>
                  <a:pt x="8408913" y="4222149"/>
                </a:cubicBezTo>
                <a:cubicBezTo>
                  <a:pt x="8403583" y="4287917"/>
                  <a:pt x="8398240" y="4339232"/>
                  <a:pt x="8402112" y="4364683"/>
                </a:cubicBezTo>
                <a:lnTo>
                  <a:pt x="8393355" y="4462471"/>
                </a:lnTo>
                <a:cubicBezTo>
                  <a:pt x="8396004" y="4503329"/>
                  <a:pt x="8376320" y="4548111"/>
                  <a:pt x="8376166" y="4574052"/>
                </a:cubicBezTo>
                <a:cubicBezTo>
                  <a:pt x="8369380" y="4670665"/>
                  <a:pt x="8352302" y="4649921"/>
                  <a:pt x="8341678" y="4667756"/>
                </a:cubicBezTo>
                <a:cubicBezTo>
                  <a:pt x="8320864" y="4705850"/>
                  <a:pt x="8290794" y="4758928"/>
                  <a:pt x="8273661" y="4799019"/>
                </a:cubicBezTo>
                <a:cubicBezTo>
                  <a:pt x="8254323" y="4834076"/>
                  <a:pt x="8262378" y="4811645"/>
                  <a:pt x="8256132" y="4849614"/>
                </a:cubicBezTo>
                <a:cubicBezTo>
                  <a:pt x="8239320" y="4853334"/>
                  <a:pt x="8207060" y="4883089"/>
                  <a:pt x="8226804" y="4919971"/>
                </a:cubicBezTo>
                <a:lnTo>
                  <a:pt x="8171825" y="5010766"/>
                </a:lnTo>
                <a:cubicBezTo>
                  <a:pt x="8150097" y="4983259"/>
                  <a:pt x="8165842" y="5107656"/>
                  <a:pt x="8143172" y="5088190"/>
                </a:cubicBezTo>
                <a:cubicBezTo>
                  <a:pt x="8128060" y="5102008"/>
                  <a:pt x="8138350" y="5118851"/>
                  <a:pt x="8126363" y="5143922"/>
                </a:cubicBezTo>
                <a:cubicBezTo>
                  <a:pt x="8116335" y="5192745"/>
                  <a:pt x="8111851" y="5226225"/>
                  <a:pt x="8103782" y="5284346"/>
                </a:cubicBezTo>
                <a:cubicBezTo>
                  <a:pt x="8101016" y="5338386"/>
                  <a:pt x="8095811" y="5337325"/>
                  <a:pt x="8084361" y="5390948"/>
                </a:cubicBezTo>
                <a:cubicBezTo>
                  <a:pt x="8082912" y="5429655"/>
                  <a:pt x="8063705" y="5449508"/>
                  <a:pt x="8062552" y="5470854"/>
                </a:cubicBezTo>
                <a:cubicBezTo>
                  <a:pt x="8086776" y="5526328"/>
                  <a:pt x="8037513" y="5496377"/>
                  <a:pt x="8057342" y="5529643"/>
                </a:cubicBezTo>
                <a:cubicBezTo>
                  <a:pt x="8050653" y="5550879"/>
                  <a:pt x="8055939" y="5587444"/>
                  <a:pt x="8044923" y="5597292"/>
                </a:cubicBezTo>
                <a:lnTo>
                  <a:pt x="8035233" y="5608899"/>
                </a:lnTo>
                <a:cubicBezTo>
                  <a:pt x="8030775" y="5623501"/>
                  <a:pt x="8021047" y="5660431"/>
                  <a:pt x="8018178" y="5684911"/>
                </a:cubicBezTo>
                <a:cubicBezTo>
                  <a:pt x="8005590" y="5692608"/>
                  <a:pt x="8011744" y="5734344"/>
                  <a:pt x="8018018" y="5755776"/>
                </a:cubicBezTo>
                <a:cubicBezTo>
                  <a:pt x="8019409" y="5792777"/>
                  <a:pt x="7989082" y="5848613"/>
                  <a:pt x="8008640" y="5889599"/>
                </a:cubicBezTo>
                <a:cubicBezTo>
                  <a:pt x="8011480" y="5932097"/>
                  <a:pt x="8009486" y="5940901"/>
                  <a:pt x="8013542" y="5989744"/>
                </a:cubicBezTo>
                <a:cubicBezTo>
                  <a:pt x="8022089" y="6020787"/>
                  <a:pt x="7982918" y="6024963"/>
                  <a:pt x="7980757" y="6084926"/>
                </a:cubicBezTo>
                <a:cubicBezTo>
                  <a:pt x="7974117" y="6134231"/>
                  <a:pt x="7999371" y="6240432"/>
                  <a:pt x="7975907" y="6346549"/>
                </a:cubicBezTo>
                <a:cubicBezTo>
                  <a:pt x="7987225" y="6409741"/>
                  <a:pt x="7980509" y="6468689"/>
                  <a:pt x="7974221" y="6527527"/>
                </a:cubicBezTo>
                <a:cubicBezTo>
                  <a:pt x="7955361" y="6585667"/>
                  <a:pt x="7987786" y="6579284"/>
                  <a:pt x="7979135" y="6627129"/>
                </a:cubicBezTo>
                <a:cubicBezTo>
                  <a:pt x="7983057" y="6635153"/>
                  <a:pt x="7984986" y="6697665"/>
                  <a:pt x="7979404" y="6694819"/>
                </a:cubicBezTo>
                <a:cubicBezTo>
                  <a:pt x="7981755" y="6716947"/>
                  <a:pt x="8003903" y="6732844"/>
                  <a:pt x="8009526" y="6765445"/>
                </a:cubicBezTo>
                <a:cubicBezTo>
                  <a:pt x="8011113" y="6776325"/>
                  <a:pt x="8014662" y="6810511"/>
                  <a:pt x="8018211" y="6844697"/>
                </a:cubicBezTo>
                <a:lnTo>
                  <a:pt x="801960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1137034" y="609600"/>
            <a:ext cx="6881026" cy="13228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b="1" i="0" kern="1200" dirty="0">
                <a:solidFill>
                  <a:srgbClr val="EC008C"/>
                </a:solidFill>
                <a:effectLst/>
                <a:latin typeface="+mj-lt"/>
                <a:ea typeface="+mj-ea"/>
                <a:cs typeface="+mj-cs"/>
              </a:rPr>
              <a:t>1</a:t>
            </a:r>
            <a:r>
              <a:rPr lang="en-US" sz="4400" i="0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  </a:t>
            </a:r>
            <a:r>
              <a:rPr lang="en-US" sz="4400" i="0" kern="1200" dirty="0" err="1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Elämän</a:t>
            </a:r>
            <a:r>
              <a:rPr lang="en-US" sz="4400" i="0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 </a:t>
            </a:r>
            <a:r>
              <a:rPr lang="en-US" sz="4400" i="0" kern="1200" dirty="0" err="1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ymmärtämiseksi</a:t>
            </a:r>
            <a:r>
              <a:rPr lang="en-US" sz="4400" i="0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 tutkitaan </a:t>
            </a:r>
            <a:r>
              <a:rPr lang="en-US" sz="4400" i="0" kern="1200" dirty="0" err="1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soluja</a:t>
            </a:r>
            <a:endParaRPr lang="en-US" sz="44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Kuva 1">
            <a:extLst>
              <a:ext uri="{FF2B5EF4-FFF2-40B4-BE49-F238E27FC236}">
                <a16:creationId xmlns:a16="http://schemas.microsoft.com/office/drawing/2014/main" id="{1B15E2E3-BEF0-41EF-BFE8-CB97AF43BC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1085" y="846160"/>
            <a:ext cx="2376764" cy="5195111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7651845"/>
              </p:ext>
            </p:extLst>
          </p:nvPr>
        </p:nvGraphicFramePr>
        <p:xfrm>
          <a:off x="1137034" y="2194102"/>
          <a:ext cx="6573951" cy="39085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9302456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C0C92CC4-9821-445B-8FC1-C7630CDC1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77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C0C92CC4-9821-445B-8FC1-C7630CDC1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Kuva 25">
            <a:extLst>
              <a:ext uri="{FF2B5EF4-FFF2-40B4-BE49-F238E27FC236}">
                <a16:creationId xmlns:a16="http://schemas.microsoft.com/office/drawing/2014/main" id="{328AC4BB-AECD-47FE-B305-B95D452F1A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1049" y="1008305"/>
            <a:ext cx="7829902" cy="4841389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C758F86-BBBF-48AA-8EC6-ADA1457FD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211012"/>
          </a:xfrm>
        </p:spPr>
        <p:txBody>
          <a:bodyPr vert="horz">
            <a:normAutofit/>
          </a:bodyPr>
          <a:lstStyle/>
          <a:p>
            <a:r>
              <a:rPr lang="fi-FI" sz="3600" dirty="0">
                <a:cs typeface="Calibri Light"/>
              </a:rPr>
              <a:t>Tiivistelmä</a:t>
            </a:r>
            <a:endParaRPr lang="fi-FI" sz="3600" dirty="0"/>
          </a:p>
        </p:txBody>
      </p:sp>
    </p:spTree>
    <p:extLst>
      <p:ext uri="{BB962C8B-B14F-4D97-AF65-F5344CB8AC3E}">
        <p14:creationId xmlns:p14="http://schemas.microsoft.com/office/powerpoint/2010/main" val="7526748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670DBD5-770C-4383-9F54-5B86E86BD5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10277" y="0"/>
            <a:ext cx="9771446" cy="6858000"/>
          </a:xfrm>
          <a:custGeom>
            <a:avLst/>
            <a:gdLst>
              <a:gd name="connsiteX0" fmla="*/ 1422188 w 9771446"/>
              <a:gd name="connsiteY0" fmla="*/ 0 h 6858000"/>
              <a:gd name="connsiteX1" fmla="*/ 8349258 w 9771446"/>
              <a:gd name="connsiteY1" fmla="*/ 0 h 6858000"/>
              <a:gd name="connsiteX2" fmla="*/ 8502224 w 9771446"/>
              <a:gd name="connsiteY2" fmla="*/ 159673 h 6858000"/>
              <a:gd name="connsiteX3" fmla="*/ 9771446 w 9771446"/>
              <a:gd name="connsiteY3" fmla="*/ 3429001 h 6858000"/>
              <a:gd name="connsiteX4" fmla="*/ 8502224 w 9771446"/>
              <a:gd name="connsiteY4" fmla="*/ 6698330 h 6858000"/>
              <a:gd name="connsiteX5" fmla="*/ 8349260 w 9771446"/>
              <a:gd name="connsiteY5" fmla="*/ 6858000 h 6858000"/>
              <a:gd name="connsiteX6" fmla="*/ 1422186 w 9771446"/>
              <a:gd name="connsiteY6" fmla="*/ 6858000 h 6858000"/>
              <a:gd name="connsiteX7" fmla="*/ 1269223 w 9771446"/>
              <a:gd name="connsiteY7" fmla="*/ 6698330 h 6858000"/>
              <a:gd name="connsiteX8" fmla="*/ 0 w 9771446"/>
              <a:gd name="connsiteY8" fmla="*/ 3429001 h 6858000"/>
              <a:gd name="connsiteX9" fmla="*/ 1269223 w 9771446"/>
              <a:gd name="connsiteY9" fmla="*/ 15967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71446" h="6858000">
                <a:moveTo>
                  <a:pt x="1422188" y="0"/>
                </a:moveTo>
                <a:lnTo>
                  <a:pt x="8349258" y="0"/>
                </a:lnTo>
                <a:lnTo>
                  <a:pt x="8502224" y="159673"/>
                </a:lnTo>
                <a:cubicBezTo>
                  <a:pt x="9290813" y="1023162"/>
                  <a:pt x="9771446" y="2170221"/>
                  <a:pt x="9771446" y="3429001"/>
                </a:cubicBezTo>
                <a:cubicBezTo>
                  <a:pt x="9771446" y="4687781"/>
                  <a:pt x="9290813" y="5834840"/>
                  <a:pt x="8502224" y="6698330"/>
                </a:cubicBezTo>
                <a:lnTo>
                  <a:pt x="8349260" y="6858000"/>
                </a:lnTo>
                <a:lnTo>
                  <a:pt x="1422186" y="6858000"/>
                </a:lnTo>
                <a:lnTo>
                  <a:pt x="1269223" y="6698330"/>
                </a:lnTo>
                <a:cubicBezTo>
                  <a:pt x="480633" y="5834840"/>
                  <a:pt x="0" y="4687781"/>
                  <a:pt x="0" y="3429001"/>
                </a:cubicBezTo>
                <a:cubicBezTo>
                  <a:pt x="0" y="2170221"/>
                  <a:pt x="480633" y="1023162"/>
                  <a:pt x="1269223" y="159673"/>
                </a:cubicBezTo>
                <a:close/>
              </a:path>
            </a:pathLst>
          </a:custGeom>
          <a:solidFill>
            <a:schemeClr val="bg1">
              <a:lumMod val="85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556995"/>
            <a:ext cx="10515600" cy="11336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200" i="0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Kaikki </a:t>
            </a:r>
            <a:r>
              <a:rPr lang="en-US" sz="5200" i="0" kern="1200" dirty="0" err="1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eliöt</a:t>
            </a:r>
            <a:r>
              <a:rPr lang="en-US" sz="5200" i="0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 </a:t>
            </a:r>
            <a:r>
              <a:rPr lang="en-US" sz="5200" i="0" kern="1200" dirty="0" err="1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koostuvat</a:t>
            </a:r>
            <a:r>
              <a:rPr lang="en-US" sz="5200" i="0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 </a:t>
            </a:r>
            <a:r>
              <a:rPr lang="en-US" sz="5200" i="0" kern="1200" dirty="0" err="1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soluista</a:t>
            </a:r>
            <a:endParaRPr lang="en-US" sz="52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5054480"/>
              </p:ext>
            </p:extLst>
          </p:nvPr>
        </p:nvGraphicFramePr>
        <p:xfrm>
          <a:off x="838200" y="1825625"/>
          <a:ext cx="10352314" cy="42649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74272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2" name="Rectangle 51">
            <a:extLst>
              <a:ext uri="{FF2B5EF4-FFF2-40B4-BE49-F238E27FC236}">
                <a16:creationId xmlns:a16="http://schemas.microsoft.com/office/drawing/2014/main" id="{F821940F-7A1D-4ACC-85B4-A932898ABB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16674508-81D3-48CF-96BF-7FC60EAA57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741994" cy="6858000"/>
          </a:xfrm>
          <a:custGeom>
            <a:avLst/>
            <a:gdLst>
              <a:gd name="connsiteX0" fmla="*/ 0 w 6568309"/>
              <a:gd name="connsiteY0" fmla="*/ 0 h 6858000"/>
              <a:gd name="connsiteX1" fmla="*/ 362841 w 6568309"/>
              <a:gd name="connsiteY1" fmla="*/ 0 h 6858000"/>
              <a:gd name="connsiteX2" fmla="*/ 523269 w 6568309"/>
              <a:gd name="connsiteY2" fmla="*/ 0 h 6858000"/>
              <a:gd name="connsiteX3" fmla="*/ 1343025 w 6568309"/>
              <a:gd name="connsiteY3" fmla="*/ 0 h 6858000"/>
              <a:gd name="connsiteX4" fmla="*/ 1705866 w 6568309"/>
              <a:gd name="connsiteY4" fmla="*/ 0 h 6858000"/>
              <a:gd name="connsiteX5" fmla="*/ 1866294 w 6568309"/>
              <a:gd name="connsiteY5" fmla="*/ 0 h 6858000"/>
              <a:gd name="connsiteX6" fmla="*/ 5225154 w 6568309"/>
              <a:gd name="connsiteY6" fmla="*/ 0 h 6858000"/>
              <a:gd name="connsiteX7" fmla="*/ 6568179 w 6568309"/>
              <a:gd name="connsiteY7" fmla="*/ 0 h 6858000"/>
              <a:gd name="connsiteX8" fmla="*/ 6568309 w 6568309"/>
              <a:gd name="connsiteY8" fmla="*/ 1 h 6858000"/>
              <a:gd name="connsiteX9" fmla="*/ 6562951 w 6568309"/>
              <a:gd name="connsiteY9" fmla="*/ 30700 h 6858000"/>
              <a:gd name="connsiteX10" fmla="*/ 6547446 w 6568309"/>
              <a:gd name="connsiteY10" fmla="*/ 310025 h 6858000"/>
              <a:gd name="connsiteX11" fmla="*/ 6558316 w 6568309"/>
              <a:gd name="connsiteY11" fmla="*/ 443960 h 6858000"/>
              <a:gd name="connsiteX12" fmla="*/ 6528896 w 6568309"/>
              <a:gd name="connsiteY12" fmla="*/ 642659 h 6858000"/>
              <a:gd name="connsiteX13" fmla="*/ 6523095 w 6568309"/>
              <a:gd name="connsiteY13" fmla="*/ 673307 h 6858000"/>
              <a:gd name="connsiteX14" fmla="*/ 6496169 w 6568309"/>
              <a:gd name="connsiteY14" fmla="*/ 839641 h 6858000"/>
              <a:gd name="connsiteX15" fmla="*/ 6450789 w 6568309"/>
              <a:gd name="connsiteY15" fmla="*/ 958357 h 6858000"/>
              <a:gd name="connsiteX16" fmla="*/ 6453996 w 6568309"/>
              <a:gd name="connsiteY16" fmla="*/ 963398 h 6858000"/>
              <a:gd name="connsiteX17" fmla="*/ 6419467 w 6568309"/>
              <a:gd name="connsiteY17" fmla="*/ 1117169 h 6858000"/>
              <a:gd name="connsiteX18" fmla="*/ 6417348 w 6568309"/>
              <a:gd name="connsiteY18" fmla="*/ 1144352 h 6858000"/>
              <a:gd name="connsiteX19" fmla="*/ 6418473 w 6568309"/>
              <a:gd name="connsiteY19" fmla="*/ 1164484 h 6858000"/>
              <a:gd name="connsiteX20" fmla="*/ 6406979 w 6568309"/>
              <a:gd name="connsiteY20" fmla="*/ 1213829 h 6858000"/>
              <a:gd name="connsiteX21" fmla="*/ 6381928 w 6568309"/>
              <a:gd name="connsiteY21" fmla="*/ 1294823 h 6858000"/>
              <a:gd name="connsiteX22" fmla="*/ 6377948 w 6568309"/>
              <a:gd name="connsiteY22" fmla="*/ 1312193 h 6858000"/>
              <a:gd name="connsiteX23" fmla="*/ 6379894 w 6568309"/>
              <a:gd name="connsiteY23" fmla="*/ 1327626 h 6858000"/>
              <a:gd name="connsiteX24" fmla="*/ 6385024 w 6568309"/>
              <a:gd name="connsiteY24" fmla="*/ 1331644 h 6858000"/>
              <a:gd name="connsiteX25" fmla="*/ 6383696 w 6568309"/>
              <a:gd name="connsiteY25" fmla="*/ 1341276 h 6858000"/>
              <a:gd name="connsiteX26" fmla="*/ 6384464 w 6568309"/>
              <a:gd name="connsiteY26" fmla="*/ 1343945 h 6858000"/>
              <a:gd name="connsiteX27" fmla="*/ 6387748 w 6568309"/>
              <a:gd name="connsiteY27" fmla="*/ 1359134 h 6858000"/>
              <a:gd name="connsiteX28" fmla="*/ 6364157 w 6568309"/>
              <a:gd name="connsiteY28" fmla="*/ 1427803 h 6858000"/>
              <a:gd name="connsiteX29" fmla="*/ 6335874 w 6568309"/>
              <a:gd name="connsiteY29" fmla="*/ 1540278 h 6858000"/>
              <a:gd name="connsiteX30" fmla="*/ 6331892 w 6568309"/>
              <a:gd name="connsiteY30" fmla="*/ 1547262 h 6858000"/>
              <a:gd name="connsiteX31" fmla="*/ 6332744 w 6568309"/>
              <a:gd name="connsiteY31" fmla="*/ 1577056 h 6858000"/>
              <a:gd name="connsiteX32" fmla="*/ 6333604 w 6568309"/>
              <a:gd name="connsiteY32" fmla="*/ 1595898 h 6858000"/>
              <a:gd name="connsiteX33" fmla="*/ 6324749 w 6568309"/>
              <a:gd name="connsiteY33" fmla="*/ 1703726 h 6858000"/>
              <a:gd name="connsiteX34" fmla="*/ 6329594 w 6568309"/>
              <a:gd name="connsiteY34" fmla="*/ 1809535 h 6858000"/>
              <a:gd name="connsiteX35" fmla="*/ 6329062 w 6568309"/>
              <a:gd name="connsiteY35" fmla="*/ 2018310 h 6858000"/>
              <a:gd name="connsiteX36" fmla="*/ 6321735 w 6568309"/>
              <a:gd name="connsiteY36" fmla="*/ 2071355 h 6858000"/>
              <a:gd name="connsiteX37" fmla="*/ 6322678 w 6568309"/>
              <a:gd name="connsiteY37" fmla="*/ 2141166 h 6858000"/>
              <a:gd name="connsiteX38" fmla="*/ 6321340 w 6568309"/>
              <a:gd name="connsiteY38" fmla="*/ 2154548 h 6858000"/>
              <a:gd name="connsiteX39" fmla="*/ 6316582 w 6568309"/>
              <a:gd name="connsiteY39" fmla="*/ 2158153 h 6858000"/>
              <a:gd name="connsiteX40" fmla="*/ 6311428 w 6568309"/>
              <a:gd name="connsiteY40" fmla="*/ 2178174 h 6858000"/>
              <a:gd name="connsiteX41" fmla="*/ 6310192 w 6568309"/>
              <a:gd name="connsiteY41" fmla="*/ 2202858 h 6858000"/>
              <a:gd name="connsiteX42" fmla="*/ 6309211 w 6568309"/>
              <a:gd name="connsiteY42" fmla="*/ 2320214 h 6858000"/>
              <a:gd name="connsiteX43" fmla="*/ 6300151 w 6568309"/>
              <a:gd name="connsiteY43" fmla="*/ 2417011 h 6858000"/>
              <a:gd name="connsiteX44" fmla="*/ 6295176 w 6568309"/>
              <a:gd name="connsiteY44" fmla="*/ 2454207 h 6858000"/>
              <a:gd name="connsiteX45" fmla="*/ 6293727 w 6568309"/>
              <a:gd name="connsiteY45" fmla="*/ 2487203 h 6858000"/>
              <a:gd name="connsiteX46" fmla="*/ 6285477 w 6568309"/>
              <a:gd name="connsiteY46" fmla="*/ 2512282 h 6858000"/>
              <a:gd name="connsiteX47" fmla="*/ 6286205 w 6568309"/>
              <a:gd name="connsiteY47" fmla="*/ 2514318 h 6858000"/>
              <a:gd name="connsiteX48" fmla="*/ 6304629 w 6568309"/>
              <a:gd name="connsiteY48" fmla="*/ 2574334 h 6858000"/>
              <a:gd name="connsiteX49" fmla="*/ 6303842 w 6568309"/>
              <a:gd name="connsiteY49" fmla="*/ 2579877 h 6858000"/>
              <a:gd name="connsiteX50" fmla="*/ 6303953 w 6568309"/>
              <a:gd name="connsiteY50" fmla="*/ 2608928 h 6858000"/>
              <a:gd name="connsiteX51" fmla="*/ 6303530 w 6568309"/>
              <a:gd name="connsiteY51" fmla="*/ 2613111 h 6858000"/>
              <a:gd name="connsiteX52" fmla="*/ 6297474 w 6568309"/>
              <a:gd name="connsiteY52" fmla="*/ 2621996 h 6858000"/>
              <a:gd name="connsiteX53" fmla="*/ 6299263 w 6568309"/>
              <a:gd name="connsiteY53" fmla="*/ 2634265 h 6858000"/>
              <a:gd name="connsiteX54" fmla="*/ 6293065 w 6568309"/>
              <a:gd name="connsiteY54" fmla="*/ 2647237 h 6858000"/>
              <a:gd name="connsiteX55" fmla="*/ 6297496 w 6568309"/>
              <a:gd name="connsiteY55" fmla="*/ 2650786 h 6858000"/>
              <a:gd name="connsiteX56" fmla="*/ 6301708 w 6568309"/>
              <a:gd name="connsiteY56" fmla="*/ 2661993 h 6858000"/>
              <a:gd name="connsiteX57" fmla="*/ 6295884 w 6568309"/>
              <a:gd name="connsiteY57" fmla="*/ 2670949 h 6858000"/>
              <a:gd name="connsiteX58" fmla="*/ 6291714 w 6568309"/>
              <a:gd name="connsiteY58" fmla="*/ 2690255 h 6858000"/>
              <a:gd name="connsiteX59" fmla="*/ 6292327 w 6568309"/>
              <a:gd name="connsiteY59" fmla="*/ 2695683 h 6858000"/>
              <a:gd name="connsiteX60" fmla="*/ 6284410 w 6568309"/>
              <a:gd name="connsiteY60" fmla="*/ 2713964 h 6858000"/>
              <a:gd name="connsiteX61" fmla="*/ 6280410 w 6568309"/>
              <a:gd name="connsiteY61" fmla="*/ 2730175 h 6858000"/>
              <a:gd name="connsiteX62" fmla="*/ 6288082 w 6568309"/>
              <a:gd name="connsiteY62" fmla="*/ 2763497 h 6858000"/>
              <a:gd name="connsiteX63" fmla="*/ 6260924 w 6568309"/>
              <a:gd name="connsiteY63" fmla="*/ 3051539 h 6858000"/>
              <a:gd name="connsiteX64" fmla="*/ 6210151 w 6568309"/>
              <a:gd name="connsiteY64" fmla="*/ 3335396 h 6858000"/>
              <a:gd name="connsiteX65" fmla="*/ 6212034 w 6568309"/>
              <a:gd name="connsiteY65" fmla="*/ 3456509 h 6858000"/>
              <a:gd name="connsiteX66" fmla="*/ 6197490 w 6568309"/>
              <a:gd name="connsiteY66" fmla="*/ 3531827 h 6858000"/>
              <a:gd name="connsiteX67" fmla="*/ 6208018 w 6568309"/>
              <a:gd name="connsiteY67" fmla="*/ 3570877 h 6858000"/>
              <a:gd name="connsiteX68" fmla="*/ 6205920 w 6568309"/>
              <a:gd name="connsiteY68" fmla="*/ 3583849 h 6858000"/>
              <a:gd name="connsiteX69" fmla="*/ 6199616 w 6568309"/>
              <a:gd name="connsiteY69" fmla="*/ 3592763 h 6858000"/>
              <a:gd name="connsiteX70" fmla="*/ 6181288 w 6568309"/>
              <a:gd name="connsiteY70" fmla="*/ 3653485 h 6858000"/>
              <a:gd name="connsiteX71" fmla="*/ 6175963 w 6568309"/>
              <a:gd name="connsiteY71" fmla="*/ 3670528 h 6858000"/>
              <a:gd name="connsiteX72" fmla="*/ 6176722 w 6568309"/>
              <a:gd name="connsiteY72" fmla="*/ 3685990 h 6858000"/>
              <a:gd name="connsiteX73" fmla="*/ 6181549 w 6568309"/>
              <a:gd name="connsiteY73" fmla="*/ 3690283 h 6858000"/>
              <a:gd name="connsiteX74" fmla="*/ 6179476 w 6568309"/>
              <a:gd name="connsiteY74" fmla="*/ 3699787 h 6858000"/>
              <a:gd name="connsiteX75" fmla="*/ 6180040 w 6568309"/>
              <a:gd name="connsiteY75" fmla="*/ 3702486 h 6858000"/>
              <a:gd name="connsiteX76" fmla="*/ 6182155 w 6568309"/>
              <a:gd name="connsiteY76" fmla="*/ 3717784 h 6858000"/>
              <a:gd name="connsiteX77" fmla="*/ 6158980 w 6568309"/>
              <a:gd name="connsiteY77" fmla="*/ 3746229 h 6858000"/>
              <a:gd name="connsiteX78" fmla="*/ 6096049 w 6568309"/>
              <a:gd name="connsiteY78" fmla="*/ 3924910 h 6858000"/>
              <a:gd name="connsiteX79" fmla="*/ 6069712 w 6568309"/>
              <a:gd name="connsiteY79" fmla="*/ 3989353 h 6858000"/>
              <a:gd name="connsiteX80" fmla="*/ 6067330 w 6568309"/>
              <a:gd name="connsiteY80" fmla="*/ 4033899 h 6858000"/>
              <a:gd name="connsiteX81" fmla="*/ 6061081 w 6568309"/>
              <a:gd name="connsiteY81" fmla="*/ 4142250 h 6858000"/>
              <a:gd name="connsiteX82" fmla="*/ 6042858 w 6568309"/>
              <a:gd name="connsiteY82" fmla="*/ 4329442 h 6858000"/>
              <a:gd name="connsiteX83" fmla="*/ 6034182 w 6568309"/>
              <a:gd name="connsiteY83" fmla="*/ 4456184 h 6858000"/>
              <a:gd name="connsiteX84" fmla="*/ 6029178 w 6568309"/>
              <a:gd name="connsiteY84" fmla="*/ 4468478 h 6858000"/>
              <a:gd name="connsiteX85" fmla="*/ 6029974 w 6568309"/>
              <a:gd name="connsiteY85" fmla="*/ 4469862 h 6858000"/>
              <a:gd name="connsiteX86" fmla="*/ 6028340 w 6568309"/>
              <a:gd name="connsiteY86" fmla="*/ 4483797 h 6858000"/>
              <a:gd name="connsiteX87" fmla="*/ 6025168 w 6568309"/>
              <a:gd name="connsiteY87" fmla="*/ 4487091 h 6858000"/>
              <a:gd name="connsiteX88" fmla="*/ 6023164 w 6568309"/>
              <a:gd name="connsiteY88" fmla="*/ 4496728 h 6858000"/>
              <a:gd name="connsiteX89" fmla="*/ 6016839 w 6568309"/>
              <a:gd name="connsiteY89" fmla="*/ 4515918 h 6858000"/>
              <a:gd name="connsiteX90" fmla="*/ 6017886 w 6568309"/>
              <a:gd name="connsiteY90" fmla="*/ 4519316 h 6858000"/>
              <a:gd name="connsiteX91" fmla="*/ 6011819 w 6568309"/>
              <a:gd name="connsiteY91" fmla="*/ 4547957 h 6858000"/>
              <a:gd name="connsiteX92" fmla="*/ 6012791 w 6568309"/>
              <a:gd name="connsiteY92" fmla="*/ 4548262 h 6858000"/>
              <a:gd name="connsiteX93" fmla="*/ 6015703 w 6568309"/>
              <a:gd name="connsiteY93" fmla="*/ 4555939 h 6858000"/>
              <a:gd name="connsiteX94" fmla="*/ 6018854 w 6568309"/>
              <a:gd name="connsiteY94" fmla="*/ 4570815 h 6858000"/>
              <a:gd name="connsiteX95" fmla="*/ 6033000 w 6568309"/>
              <a:gd name="connsiteY95" fmla="*/ 4633846 h 6858000"/>
              <a:gd name="connsiteX96" fmla="*/ 6032325 w 6568309"/>
              <a:gd name="connsiteY96" fmla="*/ 4639816 h 6858000"/>
              <a:gd name="connsiteX97" fmla="*/ 6032549 w 6568309"/>
              <a:gd name="connsiteY97" fmla="*/ 4639923 h 6858000"/>
              <a:gd name="connsiteX98" fmla="*/ 6032309 w 6568309"/>
              <a:gd name="connsiteY98" fmla="*/ 4646192 h 6858000"/>
              <a:gd name="connsiteX99" fmla="*/ 6031095 w 6568309"/>
              <a:gd name="connsiteY99" fmla="*/ 4650706 h 6858000"/>
              <a:gd name="connsiteX100" fmla="*/ 6029786 w 6568309"/>
              <a:gd name="connsiteY100" fmla="*/ 4662290 h 6858000"/>
              <a:gd name="connsiteX101" fmla="*/ 6030911 w 6568309"/>
              <a:gd name="connsiteY101" fmla="*/ 4666180 h 6858000"/>
              <a:gd name="connsiteX102" fmla="*/ 6033630 w 6568309"/>
              <a:gd name="connsiteY102" fmla="*/ 4667585 h 6858000"/>
              <a:gd name="connsiteX103" fmla="*/ 6033189 w 6568309"/>
              <a:gd name="connsiteY103" fmla="*/ 4668660 h 6858000"/>
              <a:gd name="connsiteX104" fmla="*/ 6038764 w 6568309"/>
              <a:gd name="connsiteY104" fmla="*/ 4689807 h 6858000"/>
              <a:gd name="connsiteX105" fmla="*/ 6042217 w 6568309"/>
              <a:gd name="connsiteY105" fmla="*/ 4737890 h 6858000"/>
              <a:gd name="connsiteX106" fmla="*/ 6040543 w 6568309"/>
              <a:gd name="connsiteY106" fmla="*/ 4765657 h 6858000"/>
              <a:gd name="connsiteX107" fmla="*/ 6039956 w 6568309"/>
              <a:gd name="connsiteY107" fmla="*/ 4841463 h 6858000"/>
              <a:gd name="connsiteX108" fmla="*/ 6057123 w 6568309"/>
              <a:gd name="connsiteY108" fmla="*/ 4969863 h 6858000"/>
              <a:gd name="connsiteX109" fmla="*/ 6055039 w 6568309"/>
              <a:gd name="connsiteY109" fmla="*/ 4974028 h 6858000"/>
              <a:gd name="connsiteX110" fmla="*/ 6053462 w 6568309"/>
              <a:gd name="connsiteY110" fmla="*/ 4980318 h 6858000"/>
              <a:gd name="connsiteX111" fmla="*/ 6053643 w 6568309"/>
              <a:gd name="connsiteY111" fmla="*/ 4980501 h 6858000"/>
              <a:gd name="connsiteX112" fmla="*/ 6051733 w 6568309"/>
              <a:gd name="connsiteY112" fmla="*/ 4986338 h 6858000"/>
              <a:gd name="connsiteX113" fmla="*/ 6049602 w 6568309"/>
              <a:gd name="connsiteY113" fmla="*/ 4991296 h 6858000"/>
              <a:gd name="connsiteX114" fmla="*/ 6075165 w 6568309"/>
              <a:gd name="connsiteY114" fmla="*/ 5076895 h 6858000"/>
              <a:gd name="connsiteX115" fmla="*/ 6073751 w 6568309"/>
              <a:gd name="connsiteY115" fmla="*/ 5081568 h 6858000"/>
              <a:gd name="connsiteX116" fmla="*/ 6073150 w 6568309"/>
              <a:gd name="connsiteY116" fmla="*/ 5088173 h 6858000"/>
              <a:gd name="connsiteX117" fmla="*/ 6073355 w 6568309"/>
              <a:gd name="connsiteY117" fmla="*/ 5088300 h 6858000"/>
              <a:gd name="connsiteX118" fmla="*/ 6072362 w 6568309"/>
              <a:gd name="connsiteY118" fmla="*/ 5094558 h 6858000"/>
              <a:gd name="connsiteX119" fmla="*/ 6064726 w 6568309"/>
              <a:gd name="connsiteY119" fmla="*/ 5125620 h 6858000"/>
              <a:gd name="connsiteX120" fmla="*/ 6065415 w 6568309"/>
              <a:gd name="connsiteY120" fmla="*/ 5268004 h 6858000"/>
              <a:gd name="connsiteX121" fmla="*/ 6066081 w 6568309"/>
              <a:gd name="connsiteY121" fmla="*/ 5269530 h 6858000"/>
              <a:gd name="connsiteX122" fmla="*/ 6043407 w 6568309"/>
              <a:gd name="connsiteY122" fmla="*/ 5390941 h 6858000"/>
              <a:gd name="connsiteX123" fmla="*/ 6025377 w 6568309"/>
              <a:gd name="connsiteY123" fmla="*/ 5539927 h 6858000"/>
              <a:gd name="connsiteX124" fmla="*/ 6010052 w 6568309"/>
              <a:gd name="connsiteY124" fmla="*/ 5791594 h 6858000"/>
              <a:gd name="connsiteX125" fmla="*/ 5994220 w 6568309"/>
              <a:gd name="connsiteY125" fmla="*/ 5855206 h 6858000"/>
              <a:gd name="connsiteX126" fmla="*/ 5982580 w 6568309"/>
              <a:gd name="connsiteY126" fmla="*/ 5873582 h 6858000"/>
              <a:gd name="connsiteX127" fmla="*/ 5983608 w 6568309"/>
              <a:gd name="connsiteY127" fmla="*/ 5876037 h 6858000"/>
              <a:gd name="connsiteX128" fmla="*/ 5983535 w 6568309"/>
              <a:gd name="connsiteY128" fmla="*/ 5886534 h 6858000"/>
              <a:gd name="connsiteX129" fmla="*/ 5988737 w 6568309"/>
              <a:gd name="connsiteY129" fmla="*/ 5888644 h 6858000"/>
              <a:gd name="connsiteX130" fmla="*/ 5992371 w 6568309"/>
              <a:gd name="connsiteY130" fmla="*/ 5903832 h 6858000"/>
              <a:gd name="connsiteX131" fmla="*/ 5990780 w 6568309"/>
              <a:gd name="connsiteY131" fmla="*/ 5923391 h 6858000"/>
              <a:gd name="connsiteX132" fmla="*/ 5993870 w 6568309"/>
              <a:gd name="connsiteY132" fmla="*/ 6013205 h 6858000"/>
              <a:gd name="connsiteX133" fmla="*/ 5997673 w 6568309"/>
              <a:gd name="connsiteY133" fmla="*/ 6074018 h 6858000"/>
              <a:gd name="connsiteX134" fmla="*/ 6014840 w 6568309"/>
              <a:gd name="connsiteY134" fmla="*/ 6130837 h 6858000"/>
              <a:gd name="connsiteX135" fmla="*/ 6010704 w 6568309"/>
              <a:gd name="connsiteY135" fmla="*/ 6152982 h 6858000"/>
              <a:gd name="connsiteX136" fmla="*/ 6038294 w 6568309"/>
              <a:gd name="connsiteY136" fmla="*/ 6221100 h 6858000"/>
              <a:gd name="connsiteX137" fmla="*/ 6052331 w 6568309"/>
              <a:gd name="connsiteY137" fmla="*/ 6287550 h 6858000"/>
              <a:gd name="connsiteX138" fmla="*/ 6074143 w 6568309"/>
              <a:gd name="connsiteY138" fmla="*/ 6401595 h 6858000"/>
              <a:gd name="connsiteX139" fmla="*/ 6060199 w 6568309"/>
              <a:gd name="connsiteY139" fmla="*/ 6487110 h 6858000"/>
              <a:gd name="connsiteX140" fmla="*/ 6081156 w 6568309"/>
              <a:gd name="connsiteY140" fmla="*/ 6588589 h 6858000"/>
              <a:gd name="connsiteX141" fmla="*/ 6114944 w 6568309"/>
              <a:gd name="connsiteY141" fmla="*/ 6769963 h 6858000"/>
              <a:gd name="connsiteX142" fmla="*/ 6128950 w 6568309"/>
              <a:gd name="connsiteY142" fmla="*/ 6835814 h 6858000"/>
              <a:gd name="connsiteX143" fmla="*/ 6132536 w 6568309"/>
              <a:gd name="connsiteY143" fmla="*/ 6858000 h 6858000"/>
              <a:gd name="connsiteX144" fmla="*/ 4789511 w 6568309"/>
              <a:gd name="connsiteY144" fmla="*/ 6858000 h 6858000"/>
              <a:gd name="connsiteX145" fmla="*/ 1866294 w 6568309"/>
              <a:gd name="connsiteY145" fmla="*/ 6858000 h 6858000"/>
              <a:gd name="connsiteX146" fmla="*/ 1705866 w 6568309"/>
              <a:gd name="connsiteY146" fmla="*/ 6858000 h 6858000"/>
              <a:gd name="connsiteX147" fmla="*/ 1343025 w 6568309"/>
              <a:gd name="connsiteY147" fmla="*/ 6858000 h 6858000"/>
              <a:gd name="connsiteX148" fmla="*/ 523269 w 6568309"/>
              <a:gd name="connsiteY148" fmla="*/ 6858000 h 6858000"/>
              <a:gd name="connsiteX149" fmla="*/ 362841 w 6568309"/>
              <a:gd name="connsiteY149" fmla="*/ 6858000 h 6858000"/>
              <a:gd name="connsiteX150" fmla="*/ 0 w 6568309"/>
              <a:gd name="connsiteY15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6568309" h="6858000">
                <a:moveTo>
                  <a:pt x="0" y="0"/>
                </a:moveTo>
                <a:lnTo>
                  <a:pt x="362841" y="0"/>
                </a:lnTo>
                <a:lnTo>
                  <a:pt x="523269" y="0"/>
                </a:lnTo>
                <a:lnTo>
                  <a:pt x="1343025" y="0"/>
                </a:lnTo>
                <a:lnTo>
                  <a:pt x="1705866" y="0"/>
                </a:lnTo>
                <a:lnTo>
                  <a:pt x="1866294" y="0"/>
                </a:lnTo>
                <a:lnTo>
                  <a:pt x="5225154" y="0"/>
                </a:lnTo>
                <a:lnTo>
                  <a:pt x="6568179" y="0"/>
                </a:lnTo>
                <a:lnTo>
                  <a:pt x="6568309" y="1"/>
                </a:lnTo>
                <a:lnTo>
                  <a:pt x="6562951" y="30700"/>
                </a:lnTo>
                <a:cubicBezTo>
                  <a:pt x="6559126" y="84364"/>
                  <a:pt x="6548218" y="241149"/>
                  <a:pt x="6547446" y="310025"/>
                </a:cubicBezTo>
                <a:cubicBezTo>
                  <a:pt x="6550151" y="367544"/>
                  <a:pt x="6557712" y="408251"/>
                  <a:pt x="6558316" y="443960"/>
                </a:cubicBezTo>
                <a:cubicBezTo>
                  <a:pt x="6555224" y="499397"/>
                  <a:pt x="6534767" y="604434"/>
                  <a:pt x="6528896" y="642659"/>
                </a:cubicBezTo>
                <a:cubicBezTo>
                  <a:pt x="6535204" y="657287"/>
                  <a:pt x="6515365" y="658191"/>
                  <a:pt x="6523095" y="673307"/>
                </a:cubicBezTo>
                <a:cubicBezTo>
                  <a:pt x="6523388" y="693769"/>
                  <a:pt x="6506868" y="797295"/>
                  <a:pt x="6496169" y="839641"/>
                </a:cubicBezTo>
                <a:cubicBezTo>
                  <a:pt x="6484119" y="887148"/>
                  <a:pt x="6457817" y="937731"/>
                  <a:pt x="6450789" y="958357"/>
                </a:cubicBezTo>
                <a:cubicBezTo>
                  <a:pt x="6443760" y="978983"/>
                  <a:pt x="6459217" y="936930"/>
                  <a:pt x="6453996" y="963398"/>
                </a:cubicBezTo>
                <a:cubicBezTo>
                  <a:pt x="6448777" y="989867"/>
                  <a:pt x="6425575" y="1087010"/>
                  <a:pt x="6419467" y="1117169"/>
                </a:cubicBezTo>
                <a:cubicBezTo>
                  <a:pt x="6431540" y="1118586"/>
                  <a:pt x="6409651" y="1135372"/>
                  <a:pt x="6417348" y="1144352"/>
                </a:cubicBezTo>
                <a:cubicBezTo>
                  <a:pt x="6424109" y="1150681"/>
                  <a:pt x="6419047" y="1157251"/>
                  <a:pt x="6418473" y="1164484"/>
                </a:cubicBezTo>
                <a:cubicBezTo>
                  <a:pt x="6423767" y="1173524"/>
                  <a:pt x="6413947" y="1205209"/>
                  <a:pt x="6406979" y="1213829"/>
                </a:cubicBezTo>
                <a:cubicBezTo>
                  <a:pt x="6382818" y="1235037"/>
                  <a:pt x="6400452" y="1277327"/>
                  <a:pt x="6381928" y="1294823"/>
                </a:cubicBezTo>
                <a:cubicBezTo>
                  <a:pt x="6379195" y="1300845"/>
                  <a:pt x="6378069" y="1306615"/>
                  <a:pt x="6377948" y="1312193"/>
                </a:cubicBezTo>
                <a:lnTo>
                  <a:pt x="6379894" y="1327626"/>
                </a:lnTo>
                <a:lnTo>
                  <a:pt x="6385024" y="1331644"/>
                </a:lnTo>
                <a:lnTo>
                  <a:pt x="6383696" y="1341276"/>
                </a:lnTo>
                <a:cubicBezTo>
                  <a:pt x="6383952" y="1342166"/>
                  <a:pt x="6384208" y="1343055"/>
                  <a:pt x="6384464" y="1343945"/>
                </a:cubicBezTo>
                <a:cubicBezTo>
                  <a:pt x="6385957" y="1349040"/>
                  <a:pt x="6387253" y="1354080"/>
                  <a:pt x="6387748" y="1359134"/>
                </a:cubicBezTo>
                <a:cubicBezTo>
                  <a:pt x="6384363" y="1373109"/>
                  <a:pt x="6372802" y="1397612"/>
                  <a:pt x="6364157" y="1427803"/>
                </a:cubicBezTo>
                <a:cubicBezTo>
                  <a:pt x="6348141" y="1460349"/>
                  <a:pt x="6348362" y="1505076"/>
                  <a:pt x="6335874" y="1540278"/>
                </a:cubicBezTo>
                <a:lnTo>
                  <a:pt x="6331892" y="1547262"/>
                </a:lnTo>
                <a:lnTo>
                  <a:pt x="6332744" y="1577056"/>
                </a:lnTo>
                <a:cubicBezTo>
                  <a:pt x="6335859" y="1582205"/>
                  <a:pt x="6336674" y="1589568"/>
                  <a:pt x="6333604" y="1595898"/>
                </a:cubicBezTo>
                <a:lnTo>
                  <a:pt x="6324749" y="1703726"/>
                </a:lnTo>
                <a:cubicBezTo>
                  <a:pt x="6324080" y="1739332"/>
                  <a:pt x="6318019" y="1754453"/>
                  <a:pt x="6329594" y="1809535"/>
                </a:cubicBezTo>
                <a:cubicBezTo>
                  <a:pt x="6344930" y="1868036"/>
                  <a:pt x="6323725" y="1952670"/>
                  <a:pt x="6329062" y="2018310"/>
                </a:cubicBezTo>
                <a:cubicBezTo>
                  <a:pt x="6308075" y="2053162"/>
                  <a:pt x="6326925" y="2034561"/>
                  <a:pt x="6321735" y="2071355"/>
                </a:cubicBezTo>
                <a:lnTo>
                  <a:pt x="6322678" y="2141166"/>
                </a:lnTo>
                <a:lnTo>
                  <a:pt x="6321340" y="2154548"/>
                </a:lnTo>
                <a:lnTo>
                  <a:pt x="6316582" y="2158153"/>
                </a:lnTo>
                <a:lnTo>
                  <a:pt x="6311428" y="2178174"/>
                </a:lnTo>
                <a:cubicBezTo>
                  <a:pt x="6310177" y="2185696"/>
                  <a:pt x="6309622" y="2193828"/>
                  <a:pt x="6310192" y="2202858"/>
                </a:cubicBezTo>
                <a:cubicBezTo>
                  <a:pt x="6319667" y="2232772"/>
                  <a:pt x="6296459" y="2283357"/>
                  <a:pt x="6309211" y="2320214"/>
                </a:cubicBezTo>
                <a:cubicBezTo>
                  <a:pt x="6307537" y="2355906"/>
                  <a:pt x="6302490" y="2394678"/>
                  <a:pt x="6300151" y="2417011"/>
                </a:cubicBezTo>
                <a:cubicBezTo>
                  <a:pt x="6292303" y="2426377"/>
                  <a:pt x="6304439" y="2456509"/>
                  <a:pt x="6295176" y="2454207"/>
                </a:cubicBezTo>
                <a:cubicBezTo>
                  <a:pt x="6299335" y="2464947"/>
                  <a:pt x="6297305" y="2476105"/>
                  <a:pt x="6293727" y="2487203"/>
                </a:cubicBezTo>
                <a:lnTo>
                  <a:pt x="6285477" y="2512282"/>
                </a:lnTo>
                <a:cubicBezTo>
                  <a:pt x="6285720" y="2512961"/>
                  <a:pt x="6285962" y="2513640"/>
                  <a:pt x="6286205" y="2514318"/>
                </a:cubicBezTo>
                <a:cubicBezTo>
                  <a:pt x="6292347" y="2534324"/>
                  <a:pt x="6298487" y="2554328"/>
                  <a:pt x="6304629" y="2574334"/>
                </a:cubicBezTo>
                <a:lnTo>
                  <a:pt x="6303842" y="2579877"/>
                </a:lnTo>
                <a:cubicBezTo>
                  <a:pt x="6303729" y="2585644"/>
                  <a:pt x="6304006" y="2603388"/>
                  <a:pt x="6303953" y="2608928"/>
                </a:cubicBezTo>
                <a:lnTo>
                  <a:pt x="6303530" y="2613111"/>
                </a:lnTo>
                <a:lnTo>
                  <a:pt x="6297474" y="2621996"/>
                </a:lnTo>
                <a:lnTo>
                  <a:pt x="6299263" y="2634265"/>
                </a:lnTo>
                <a:lnTo>
                  <a:pt x="6293065" y="2647237"/>
                </a:lnTo>
                <a:cubicBezTo>
                  <a:pt x="6294685" y="2648158"/>
                  <a:pt x="6296180" y="2649356"/>
                  <a:pt x="6297496" y="2650786"/>
                </a:cubicBezTo>
                <a:lnTo>
                  <a:pt x="6301708" y="2661993"/>
                </a:lnTo>
                <a:lnTo>
                  <a:pt x="6295884" y="2670949"/>
                </a:lnTo>
                <a:cubicBezTo>
                  <a:pt x="6304913" y="2672007"/>
                  <a:pt x="6294429" y="2681695"/>
                  <a:pt x="6291714" y="2690255"/>
                </a:cubicBezTo>
                <a:lnTo>
                  <a:pt x="6292327" y="2695683"/>
                </a:lnTo>
                <a:lnTo>
                  <a:pt x="6284410" y="2713964"/>
                </a:lnTo>
                <a:lnTo>
                  <a:pt x="6280410" y="2730175"/>
                </a:lnTo>
                <a:lnTo>
                  <a:pt x="6288082" y="2763497"/>
                </a:lnTo>
                <a:lnTo>
                  <a:pt x="6260924" y="3051539"/>
                </a:lnTo>
                <a:cubicBezTo>
                  <a:pt x="6251455" y="3165645"/>
                  <a:pt x="6222174" y="3216611"/>
                  <a:pt x="6210151" y="3335396"/>
                </a:cubicBezTo>
                <a:lnTo>
                  <a:pt x="6212034" y="3456509"/>
                </a:lnTo>
                <a:lnTo>
                  <a:pt x="6197490" y="3531827"/>
                </a:lnTo>
                <a:lnTo>
                  <a:pt x="6208018" y="3570877"/>
                </a:lnTo>
                <a:lnTo>
                  <a:pt x="6205920" y="3583849"/>
                </a:lnTo>
                <a:lnTo>
                  <a:pt x="6199616" y="3592763"/>
                </a:lnTo>
                <a:cubicBezTo>
                  <a:pt x="6191839" y="3613948"/>
                  <a:pt x="6196204" y="3641245"/>
                  <a:pt x="6181288" y="3653485"/>
                </a:cubicBezTo>
                <a:cubicBezTo>
                  <a:pt x="6178087" y="3659316"/>
                  <a:pt x="6176516" y="3664985"/>
                  <a:pt x="6175963" y="3670528"/>
                </a:cubicBezTo>
                <a:lnTo>
                  <a:pt x="6176722" y="3685990"/>
                </a:lnTo>
                <a:lnTo>
                  <a:pt x="6181549" y="3690283"/>
                </a:lnTo>
                <a:lnTo>
                  <a:pt x="6179476" y="3699787"/>
                </a:lnTo>
                <a:cubicBezTo>
                  <a:pt x="6179664" y="3700686"/>
                  <a:pt x="6179852" y="3701586"/>
                  <a:pt x="6180040" y="3702486"/>
                </a:cubicBezTo>
                <a:cubicBezTo>
                  <a:pt x="6181140" y="3707637"/>
                  <a:pt x="6182047" y="3712728"/>
                  <a:pt x="6182155" y="3717784"/>
                </a:cubicBezTo>
                <a:cubicBezTo>
                  <a:pt x="6156678" y="3711701"/>
                  <a:pt x="6178864" y="3759789"/>
                  <a:pt x="6158980" y="3746229"/>
                </a:cubicBezTo>
                <a:cubicBezTo>
                  <a:pt x="6144630" y="3780750"/>
                  <a:pt x="6117520" y="3867558"/>
                  <a:pt x="6096049" y="3924910"/>
                </a:cubicBezTo>
                <a:lnTo>
                  <a:pt x="6069712" y="3989353"/>
                </a:lnTo>
                <a:lnTo>
                  <a:pt x="6067330" y="4033899"/>
                </a:lnTo>
                <a:cubicBezTo>
                  <a:pt x="6065506" y="4070470"/>
                  <a:pt x="6063599" y="4110146"/>
                  <a:pt x="6061081" y="4142250"/>
                </a:cubicBezTo>
                <a:cubicBezTo>
                  <a:pt x="6055260" y="4200007"/>
                  <a:pt x="6045907" y="4278998"/>
                  <a:pt x="6042858" y="4329442"/>
                </a:cubicBezTo>
                <a:cubicBezTo>
                  <a:pt x="6038376" y="4381764"/>
                  <a:pt x="6036461" y="4433012"/>
                  <a:pt x="6034182" y="4456184"/>
                </a:cubicBezTo>
                <a:lnTo>
                  <a:pt x="6029178" y="4468478"/>
                </a:lnTo>
                <a:lnTo>
                  <a:pt x="6029974" y="4469862"/>
                </a:lnTo>
                <a:cubicBezTo>
                  <a:pt x="6031287" y="4476321"/>
                  <a:pt x="6030316" y="4480555"/>
                  <a:pt x="6028340" y="4483797"/>
                </a:cubicBezTo>
                <a:lnTo>
                  <a:pt x="6025168" y="4487091"/>
                </a:lnTo>
                <a:lnTo>
                  <a:pt x="6023164" y="4496728"/>
                </a:lnTo>
                <a:lnTo>
                  <a:pt x="6016839" y="4515918"/>
                </a:lnTo>
                <a:cubicBezTo>
                  <a:pt x="6017189" y="4517049"/>
                  <a:pt x="6017537" y="4518182"/>
                  <a:pt x="6017886" y="4519316"/>
                </a:cubicBezTo>
                <a:lnTo>
                  <a:pt x="6011819" y="4547957"/>
                </a:lnTo>
                <a:lnTo>
                  <a:pt x="6012791" y="4548262"/>
                </a:lnTo>
                <a:cubicBezTo>
                  <a:pt x="6014837" y="4549595"/>
                  <a:pt x="6016087" y="4551811"/>
                  <a:pt x="6015703" y="4555939"/>
                </a:cubicBezTo>
                <a:cubicBezTo>
                  <a:pt x="6031790" y="4548276"/>
                  <a:pt x="6021405" y="4557977"/>
                  <a:pt x="6018854" y="4570815"/>
                </a:cubicBezTo>
                <a:cubicBezTo>
                  <a:pt x="6021736" y="4583801"/>
                  <a:pt x="6030754" y="4622347"/>
                  <a:pt x="6033000" y="4633846"/>
                </a:cubicBezTo>
                <a:lnTo>
                  <a:pt x="6032325" y="4639816"/>
                </a:lnTo>
                <a:lnTo>
                  <a:pt x="6032549" y="4639923"/>
                </a:lnTo>
                <a:cubicBezTo>
                  <a:pt x="6032911" y="4641190"/>
                  <a:pt x="6032878" y="4643141"/>
                  <a:pt x="6032309" y="4646192"/>
                </a:cubicBezTo>
                <a:lnTo>
                  <a:pt x="6031095" y="4650706"/>
                </a:lnTo>
                <a:lnTo>
                  <a:pt x="6029786" y="4662290"/>
                </a:lnTo>
                <a:cubicBezTo>
                  <a:pt x="6030161" y="4663587"/>
                  <a:pt x="6030536" y="4664883"/>
                  <a:pt x="6030911" y="4666180"/>
                </a:cubicBezTo>
                <a:lnTo>
                  <a:pt x="6033630" y="4667585"/>
                </a:lnTo>
                <a:lnTo>
                  <a:pt x="6033189" y="4668660"/>
                </a:lnTo>
                <a:cubicBezTo>
                  <a:pt x="6027286" y="4676831"/>
                  <a:pt x="6019767" y="4679345"/>
                  <a:pt x="6038764" y="4689807"/>
                </a:cubicBezTo>
                <a:cubicBezTo>
                  <a:pt x="6028616" y="4708535"/>
                  <a:pt x="6040474" y="4712235"/>
                  <a:pt x="6042217" y="4737890"/>
                </a:cubicBezTo>
                <a:cubicBezTo>
                  <a:pt x="6033362" y="4748600"/>
                  <a:pt x="6035273" y="4757223"/>
                  <a:pt x="6040543" y="4765657"/>
                </a:cubicBezTo>
                <a:cubicBezTo>
                  <a:pt x="6034416" y="4790618"/>
                  <a:pt x="6040696" y="4813399"/>
                  <a:pt x="6039956" y="4841463"/>
                </a:cubicBezTo>
                <a:lnTo>
                  <a:pt x="6057123" y="4969863"/>
                </a:lnTo>
                <a:lnTo>
                  <a:pt x="6055039" y="4974028"/>
                </a:lnTo>
                <a:cubicBezTo>
                  <a:pt x="6053860" y="4976933"/>
                  <a:pt x="6053409" y="4978909"/>
                  <a:pt x="6053462" y="4980318"/>
                </a:cubicBezTo>
                <a:lnTo>
                  <a:pt x="6053643" y="4980501"/>
                </a:lnTo>
                <a:lnTo>
                  <a:pt x="6051733" y="4986338"/>
                </a:lnTo>
                <a:lnTo>
                  <a:pt x="6049602" y="4991296"/>
                </a:lnTo>
                <a:cubicBezTo>
                  <a:pt x="6058123" y="5019829"/>
                  <a:pt x="6066643" y="5048361"/>
                  <a:pt x="6075165" y="5076895"/>
                </a:cubicBezTo>
                <a:lnTo>
                  <a:pt x="6073751" y="5081568"/>
                </a:lnTo>
                <a:cubicBezTo>
                  <a:pt x="6073034" y="5084748"/>
                  <a:pt x="6072888" y="5086810"/>
                  <a:pt x="6073150" y="5088173"/>
                </a:cubicBezTo>
                <a:lnTo>
                  <a:pt x="6073355" y="5088300"/>
                </a:lnTo>
                <a:lnTo>
                  <a:pt x="6072362" y="5094558"/>
                </a:lnTo>
                <a:cubicBezTo>
                  <a:pt x="6070184" y="5105196"/>
                  <a:pt x="6067588" y="5115626"/>
                  <a:pt x="6064726" y="5125620"/>
                </a:cubicBezTo>
                <a:cubicBezTo>
                  <a:pt x="6063568" y="5154527"/>
                  <a:pt x="6065189" y="5244020"/>
                  <a:pt x="6065415" y="5268004"/>
                </a:cubicBezTo>
                <a:cubicBezTo>
                  <a:pt x="6065637" y="5268513"/>
                  <a:pt x="6065860" y="5269021"/>
                  <a:pt x="6066081" y="5269530"/>
                </a:cubicBezTo>
                <a:lnTo>
                  <a:pt x="6043407" y="5390941"/>
                </a:lnTo>
                <a:cubicBezTo>
                  <a:pt x="6032545" y="5438194"/>
                  <a:pt x="6020942" y="5465286"/>
                  <a:pt x="6025377" y="5539927"/>
                </a:cubicBezTo>
                <a:cubicBezTo>
                  <a:pt x="6019787" y="5610775"/>
                  <a:pt x="6013913" y="5740573"/>
                  <a:pt x="6010052" y="5791594"/>
                </a:cubicBezTo>
                <a:cubicBezTo>
                  <a:pt x="5989401" y="5787060"/>
                  <a:pt x="6018524" y="5849672"/>
                  <a:pt x="5994220" y="5855206"/>
                </a:cubicBezTo>
                <a:cubicBezTo>
                  <a:pt x="5995282" y="5860240"/>
                  <a:pt x="5980598" y="5868910"/>
                  <a:pt x="5982580" y="5873582"/>
                </a:cubicBezTo>
                <a:cubicBezTo>
                  <a:pt x="5982922" y="5874401"/>
                  <a:pt x="5983265" y="5875218"/>
                  <a:pt x="5983608" y="5876037"/>
                </a:cubicBezTo>
                <a:lnTo>
                  <a:pt x="5983535" y="5886534"/>
                </a:lnTo>
                <a:lnTo>
                  <a:pt x="5988737" y="5888644"/>
                </a:lnTo>
                <a:cubicBezTo>
                  <a:pt x="5989948" y="5893707"/>
                  <a:pt x="5991159" y="5898769"/>
                  <a:pt x="5992371" y="5903832"/>
                </a:cubicBezTo>
                <a:cubicBezTo>
                  <a:pt x="5992924" y="5909651"/>
                  <a:pt x="5992578" y="5916068"/>
                  <a:pt x="5990780" y="5923391"/>
                </a:cubicBezTo>
                <a:cubicBezTo>
                  <a:pt x="5975822" y="5948880"/>
                  <a:pt x="6013580" y="5981626"/>
                  <a:pt x="5993870" y="6013205"/>
                </a:cubicBezTo>
                <a:cubicBezTo>
                  <a:pt x="5988486" y="6024901"/>
                  <a:pt x="5991718" y="6066777"/>
                  <a:pt x="5997673" y="6074018"/>
                </a:cubicBezTo>
                <a:cubicBezTo>
                  <a:pt x="5998007" y="6081731"/>
                  <a:pt x="6007861" y="6126985"/>
                  <a:pt x="6014840" y="6130837"/>
                </a:cubicBezTo>
                <a:cubicBezTo>
                  <a:pt x="6022998" y="6137057"/>
                  <a:pt x="5999420" y="6156330"/>
                  <a:pt x="6010704" y="6152982"/>
                </a:cubicBezTo>
                <a:cubicBezTo>
                  <a:pt x="6008682" y="6186619"/>
                  <a:pt x="6039938" y="6191636"/>
                  <a:pt x="6038294" y="6221100"/>
                </a:cubicBezTo>
                <a:cubicBezTo>
                  <a:pt x="6039643" y="6222126"/>
                  <a:pt x="6046356" y="6257468"/>
                  <a:pt x="6052331" y="6287550"/>
                </a:cubicBezTo>
                <a:cubicBezTo>
                  <a:pt x="6058307" y="6317632"/>
                  <a:pt x="6082079" y="6391312"/>
                  <a:pt x="6074143" y="6401595"/>
                </a:cubicBezTo>
                <a:cubicBezTo>
                  <a:pt x="6074931" y="6423902"/>
                  <a:pt x="6059614" y="6432919"/>
                  <a:pt x="6060199" y="6487110"/>
                </a:cubicBezTo>
                <a:cubicBezTo>
                  <a:pt x="6075583" y="6574474"/>
                  <a:pt x="6076150" y="6553611"/>
                  <a:pt x="6081156" y="6588589"/>
                </a:cubicBezTo>
                <a:cubicBezTo>
                  <a:pt x="6102088" y="6637976"/>
                  <a:pt x="6067660" y="6687723"/>
                  <a:pt x="6114944" y="6769963"/>
                </a:cubicBezTo>
                <a:cubicBezTo>
                  <a:pt x="6130462" y="6819284"/>
                  <a:pt x="6119243" y="6817955"/>
                  <a:pt x="6128950" y="6835814"/>
                </a:cubicBezTo>
                <a:lnTo>
                  <a:pt x="6132536" y="6858000"/>
                </a:lnTo>
                <a:lnTo>
                  <a:pt x="4789511" y="6858000"/>
                </a:lnTo>
                <a:lnTo>
                  <a:pt x="1866294" y="6858000"/>
                </a:lnTo>
                <a:lnTo>
                  <a:pt x="1705866" y="6858000"/>
                </a:lnTo>
                <a:lnTo>
                  <a:pt x="1343025" y="6858000"/>
                </a:lnTo>
                <a:lnTo>
                  <a:pt x="523269" y="6858000"/>
                </a:lnTo>
                <a:lnTo>
                  <a:pt x="36284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1137034" y="609600"/>
            <a:ext cx="8793950" cy="13308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t</a:t>
            </a:r>
            <a:r>
              <a:rPr lang="en-US" sz="32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2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ovat</a:t>
            </a:r>
            <a:r>
              <a:rPr lang="en-US" sz="32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2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eliömaailman</a:t>
            </a:r>
            <a:r>
              <a:rPr lang="en-US" sz="32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2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pienimpiä</a:t>
            </a:r>
            <a:r>
              <a:rPr lang="en-US" sz="32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2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toimivia</a:t>
            </a:r>
            <a:r>
              <a:rPr lang="en-US" sz="32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2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kokonaisuuksia</a:t>
            </a:r>
            <a:endParaRPr lang="en-US" sz="32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0610" y="2303071"/>
            <a:ext cx="4737650" cy="2274072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8602497"/>
              </p:ext>
            </p:extLst>
          </p:nvPr>
        </p:nvGraphicFramePr>
        <p:xfrm>
          <a:off x="1137034" y="2194102"/>
          <a:ext cx="4438036" cy="39085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503456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3C54F4CE-85F0-46ED-80DA-9518C9251A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DADD1FCA-8ACB-4958-81DD-4CDD6D3E1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773408" y="992094"/>
            <a:ext cx="3616913" cy="27951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Solujen </a:t>
            </a:r>
            <a:r>
              <a:rPr lang="en-US" sz="4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tutkimisen</a:t>
            </a:r>
            <a:r>
              <a:rPr lang="en-US" sz="4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 </a:t>
            </a:r>
            <a:r>
              <a:rPr lang="en-US" sz="4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mittakaavoja</a:t>
            </a:r>
            <a:endParaRPr lang="en-US" sz="44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BDBC66E5-725B-470A-8217-3BD964E6420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192"/>
          <a:stretch/>
        </p:blipFill>
        <p:spPr>
          <a:xfrm>
            <a:off x="6074286" y="578738"/>
            <a:ext cx="5351578" cy="5670549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643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F0DCC097-1DB8-4B6D-85D0-6FBA0E1CA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0B58608-23C8-4441-994D-C6823EEE1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9" cy="2083506"/>
          </a:xfrm>
          <a:custGeom>
            <a:avLst/>
            <a:gdLst>
              <a:gd name="connsiteX0" fmla="*/ 0 w 12191999"/>
              <a:gd name="connsiteY0" fmla="*/ 0 h 2083506"/>
              <a:gd name="connsiteX1" fmla="*/ 9429748 w 12191999"/>
              <a:gd name="connsiteY1" fmla="*/ 0 h 2083506"/>
              <a:gd name="connsiteX2" fmla="*/ 9429748 w 12191999"/>
              <a:gd name="connsiteY2" fmla="*/ 1 h 2083506"/>
              <a:gd name="connsiteX3" fmla="*/ 12191999 w 12191999"/>
              <a:gd name="connsiteY3" fmla="*/ 1 h 2083506"/>
              <a:gd name="connsiteX4" fmla="*/ 12191999 w 12191999"/>
              <a:gd name="connsiteY4" fmla="*/ 1164372 h 2083506"/>
              <a:gd name="connsiteX5" fmla="*/ 12147852 w 12191999"/>
              <a:gd name="connsiteY5" fmla="*/ 1163783 h 2083506"/>
              <a:gd name="connsiteX6" fmla="*/ 11993604 w 12191999"/>
              <a:gd name="connsiteY6" fmla="*/ 1153496 h 2083506"/>
              <a:gd name="connsiteX7" fmla="*/ 11865319 w 12191999"/>
              <a:gd name="connsiteY7" fmla="*/ 1176624 h 2083506"/>
              <a:gd name="connsiteX8" fmla="*/ 11718353 w 12191999"/>
              <a:gd name="connsiteY8" fmla="*/ 1209136 h 2083506"/>
              <a:gd name="connsiteX9" fmla="*/ 11609067 w 12191999"/>
              <a:gd name="connsiteY9" fmla="*/ 1218512 h 2083506"/>
              <a:gd name="connsiteX10" fmla="*/ 11545958 w 12191999"/>
              <a:gd name="connsiteY10" fmla="*/ 1240430 h 2083506"/>
              <a:gd name="connsiteX11" fmla="*/ 11445770 w 12191999"/>
              <a:gd name="connsiteY11" fmla="*/ 1225780 h 2083506"/>
              <a:gd name="connsiteX12" fmla="*/ 11398842 w 12191999"/>
              <a:gd name="connsiteY12" fmla="*/ 1227250 h 2083506"/>
              <a:gd name="connsiteX13" fmla="*/ 11240093 w 12191999"/>
              <a:gd name="connsiteY13" fmla="*/ 1266797 h 2083506"/>
              <a:gd name="connsiteX14" fmla="*/ 11141364 w 12191999"/>
              <a:gd name="connsiteY14" fmla="*/ 1288059 h 2083506"/>
              <a:gd name="connsiteX15" fmla="*/ 11015396 w 12191999"/>
              <a:gd name="connsiteY15" fmla="*/ 1353104 h 2083506"/>
              <a:gd name="connsiteX16" fmla="*/ 10973905 w 12191999"/>
              <a:gd name="connsiteY16" fmla="*/ 1365109 h 2083506"/>
              <a:gd name="connsiteX17" fmla="*/ 10904858 w 12191999"/>
              <a:gd name="connsiteY17" fmla="*/ 1371966 h 2083506"/>
              <a:gd name="connsiteX18" fmla="*/ 10827883 w 12191999"/>
              <a:gd name="connsiteY18" fmla="*/ 1410270 h 2083506"/>
              <a:gd name="connsiteX19" fmla="*/ 10690996 w 12191999"/>
              <a:gd name="connsiteY19" fmla="*/ 1426394 h 2083506"/>
              <a:gd name="connsiteX20" fmla="*/ 10624461 w 12191999"/>
              <a:gd name="connsiteY20" fmla="*/ 1444283 h 2083506"/>
              <a:gd name="connsiteX21" fmla="*/ 10517208 w 12191999"/>
              <a:gd name="connsiteY21" fmla="*/ 1478947 h 2083506"/>
              <a:gd name="connsiteX22" fmla="*/ 10497937 w 12191999"/>
              <a:gd name="connsiteY22" fmla="*/ 1469831 h 2083506"/>
              <a:gd name="connsiteX23" fmla="*/ 10471201 w 12191999"/>
              <a:gd name="connsiteY23" fmla="*/ 1486037 h 2083506"/>
              <a:gd name="connsiteX24" fmla="*/ 10448263 w 12191999"/>
              <a:gd name="connsiteY24" fmla="*/ 1478223 h 2083506"/>
              <a:gd name="connsiteX25" fmla="*/ 10388089 w 12191999"/>
              <a:gd name="connsiteY25" fmla="*/ 1507175 h 2083506"/>
              <a:gd name="connsiteX26" fmla="*/ 10333720 w 12191999"/>
              <a:gd name="connsiteY26" fmla="*/ 1515848 h 2083506"/>
              <a:gd name="connsiteX27" fmla="*/ 10104338 w 12191999"/>
              <a:gd name="connsiteY27" fmla="*/ 1569424 h 2083506"/>
              <a:gd name="connsiteX28" fmla="*/ 9910445 w 12191999"/>
              <a:gd name="connsiteY28" fmla="*/ 1632275 h 2083506"/>
              <a:gd name="connsiteX29" fmla="*/ 9770872 w 12191999"/>
              <a:gd name="connsiteY29" fmla="*/ 1688088 h 2083506"/>
              <a:gd name="connsiteX30" fmla="*/ 9733849 w 12191999"/>
              <a:gd name="connsiteY30" fmla="*/ 1700034 h 2083506"/>
              <a:gd name="connsiteX31" fmla="*/ 9703714 w 12191999"/>
              <a:gd name="connsiteY31" fmla="*/ 1730093 h 2083506"/>
              <a:gd name="connsiteX32" fmla="*/ 9698351 w 12191999"/>
              <a:gd name="connsiteY32" fmla="*/ 1730377 h 2083506"/>
              <a:gd name="connsiteX33" fmla="*/ 9632895 w 12191999"/>
              <a:gd name="connsiteY33" fmla="*/ 1736363 h 2083506"/>
              <a:gd name="connsiteX34" fmla="*/ 9569107 w 12191999"/>
              <a:gd name="connsiteY34" fmla="*/ 1741010 h 2083506"/>
              <a:gd name="connsiteX35" fmla="*/ 9536451 w 12191999"/>
              <a:gd name="connsiteY35" fmla="*/ 1755120 h 2083506"/>
              <a:gd name="connsiteX36" fmla="*/ 9529385 w 12191999"/>
              <a:gd name="connsiteY36" fmla="*/ 1757515 h 2083506"/>
              <a:gd name="connsiteX37" fmla="*/ 9498527 w 12191999"/>
              <a:gd name="connsiteY37" fmla="*/ 1753117 h 2083506"/>
              <a:gd name="connsiteX38" fmla="*/ 9436642 w 12191999"/>
              <a:gd name="connsiteY38" fmla="*/ 1755478 h 2083506"/>
              <a:gd name="connsiteX39" fmla="*/ 9429748 w 12191999"/>
              <a:gd name="connsiteY39" fmla="*/ 1756317 h 2083506"/>
              <a:gd name="connsiteX40" fmla="*/ 9429748 w 12191999"/>
              <a:gd name="connsiteY40" fmla="*/ 1768745 h 2083506"/>
              <a:gd name="connsiteX41" fmla="*/ 9425802 w 12191999"/>
              <a:gd name="connsiteY41" fmla="*/ 1769273 h 2083506"/>
              <a:gd name="connsiteX42" fmla="*/ 9349763 w 12191999"/>
              <a:gd name="connsiteY42" fmla="*/ 1776107 h 2083506"/>
              <a:gd name="connsiteX43" fmla="*/ 9256503 w 12191999"/>
              <a:gd name="connsiteY43" fmla="*/ 1800699 h 2083506"/>
              <a:gd name="connsiteX44" fmla="*/ 9222873 w 12191999"/>
              <a:gd name="connsiteY44" fmla="*/ 1803003 h 2083506"/>
              <a:gd name="connsiteX45" fmla="*/ 9224095 w 12191999"/>
              <a:gd name="connsiteY45" fmla="*/ 1807355 h 2083506"/>
              <a:gd name="connsiteX46" fmla="*/ 9211603 w 12191999"/>
              <a:gd name="connsiteY46" fmla="*/ 1807675 h 2083506"/>
              <a:gd name="connsiteX47" fmla="*/ 9183719 w 12191999"/>
              <a:gd name="connsiteY47" fmla="*/ 1807781 h 2083506"/>
              <a:gd name="connsiteX48" fmla="*/ 9100221 w 12191999"/>
              <a:gd name="connsiteY48" fmla="*/ 1808989 h 2083506"/>
              <a:gd name="connsiteX49" fmla="*/ 9077439 w 12191999"/>
              <a:gd name="connsiteY49" fmla="*/ 1817333 h 2083506"/>
              <a:gd name="connsiteX50" fmla="*/ 9055889 w 12191999"/>
              <a:gd name="connsiteY50" fmla="*/ 1817464 h 2083506"/>
              <a:gd name="connsiteX51" fmla="*/ 8930912 w 12191999"/>
              <a:gd name="connsiteY51" fmla="*/ 1828648 h 2083506"/>
              <a:gd name="connsiteX52" fmla="*/ 8913729 w 12191999"/>
              <a:gd name="connsiteY52" fmla="*/ 1829483 h 2083506"/>
              <a:gd name="connsiteX53" fmla="*/ 8904423 w 12191999"/>
              <a:gd name="connsiteY53" fmla="*/ 1833234 h 2083506"/>
              <a:gd name="connsiteX54" fmla="*/ 8871099 w 12191999"/>
              <a:gd name="connsiteY54" fmla="*/ 1833979 h 2083506"/>
              <a:gd name="connsiteX55" fmla="*/ 8869557 w 12191999"/>
              <a:gd name="connsiteY55" fmla="*/ 1836113 h 2083506"/>
              <a:gd name="connsiteX56" fmla="*/ 8760021 w 12191999"/>
              <a:gd name="connsiteY56" fmla="*/ 1854442 h 2083506"/>
              <a:gd name="connsiteX57" fmla="*/ 8741254 w 12191999"/>
              <a:gd name="connsiteY57" fmla="*/ 1857469 h 2083506"/>
              <a:gd name="connsiteX58" fmla="*/ 8725039 w 12191999"/>
              <a:gd name="connsiteY58" fmla="*/ 1856552 h 2083506"/>
              <a:gd name="connsiteX59" fmla="*/ 8635265 w 12191999"/>
              <a:gd name="connsiteY59" fmla="*/ 1859168 h 2083506"/>
              <a:gd name="connsiteX60" fmla="*/ 8613911 w 12191999"/>
              <a:gd name="connsiteY60" fmla="*/ 1857561 h 2083506"/>
              <a:gd name="connsiteX61" fmla="*/ 8604931 w 12191999"/>
              <a:gd name="connsiteY61" fmla="*/ 1854170 h 2083506"/>
              <a:gd name="connsiteX62" fmla="*/ 8570171 w 12191999"/>
              <a:gd name="connsiteY62" fmla="*/ 1860579 h 2083506"/>
              <a:gd name="connsiteX63" fmla="*/ 8516537 w 12191999"/>
              <a:gd name="connsiteY63" fmla="*/ 1864971 h 2083506"/>
              <a:gd name="connsiteX64" fmla="*/ 8491046 w 12191999"/>
              <a:gd name="connsiteY64" fmla="*/ 1868141 h 2083506"/>
              <a:gd name="connsiteX65" fmla="*/ 8470478 w 12191999"/>
              <a:gd name="connsiteY65" fmla="*/ 1866216 h 2083506"/>
              <a:gd name="connsiteX66" fmla="*/ 8353433 w 12191999"/>
              <a:gd name="connsiteY66" fmla="*/ 1865729 h 2083506"/>
              <a:gd name="connsiteX67" fmla="*/ 8347675 w 12191999"/>
              <a:gd name="connsiteY67" fmla="*/ 1865075 h 2083506"/>
              <a:gd name="connsiteX68" fmla="*/ 8343939 w 12191999"/>
              <a:gd name="connsiteY68" fmla="*/ 1865677 h 2083506"/>
              <a:gd name="connsiteX69" fmla="*/ 8221566 w 12191999"/>
              <a:gd name="connsiteY69" fmla="*/ 1881148 h 2083506"/>
              <a:gd name="connsiteX70" fmla="*/ 8066095 w 12191999"/>
              <a:gd name="connsiteY70" fmla="*/ 1919902 h 2083506"/>
              <a:gd name="connsiteX71" fmla="*/ 8044849 w 12191999"/>
              <a:gd name="connsiteY71" fmla="*/ 1916308 h 2083506"/>
              <a:gd name="connsiteX72" fmla="*/ 8041142 w 12191999"/>
              <a:gd name="connsiteY72" fmla="*/ 1915506 h 2083506"/>
              <a:gd name="connsiteX73" fmla="*/ 8022159 w 12191999"/>
              <a:gd name="connsiteY73" fmla="*/ 1911521 h 2083506"/>
              <a:gd name="connsiteX74" fmla="*/ 7944932 w 12191999"/>
              <a:gd name="connsiteY74" fmla="*/ 1917265 h 2083506"/>
              <a:gd name="connsiteX75" fmla="*/ 7879011 w 12191999"/>
              <a:gd name="connsiteY75" fmla="*/ 1928570 h 2083506"/>
              <a:gd name="connsiteX76" fmla="*/ 7865529 w 12191999"/>
              <a:gd name="connsiteY76" fmla="*/ 1934399 h 2083506"/>
              <a:gd name="connsiteX77" fmla="*/ 7774801 w 12191999"/>
              <a:gd name="connsiteY77" fmla="*/ 1947969 h 2083506"/>
              <a:gd name="connsiteX78" fmla="*/ 7748398 w 12191999"/>
              <a:gd name="connsiteY78" fmla="*/ 1955982 h 2083506"/>
              <a:gd name="connsiteX79" fmla="*/ 7740684 w 12191999"/>
              <a:gd name="connsiteY79" fmla="*/ 1955717 h 2083506"/>
              <a:gd name="connsiteX80" fmla="*/ 7712976 w 12191999"/>
              <a:gd name="connsiteY80" fmla="*/ 1960442 h 2083506"/>
              <a:gd name="connsiteX81" fmla="*/ 7699956 w 12191999"/>
              <a:gd name="connsiteY81" fmla="*/ 1966104 h 2083506"/>
              <a:gd name="connsiteX82" fmla="*/ 7684158 w 12191999"/>
              <a:gd name="connsiteY82" fmla="*/ 1962927 h 2083506"/>
              <a:gd name="connsiteX83" fmla="*/ 7643109 w 12191999"/>
              <a:gd name="connsiteY83" fmla="*/ 1964400 h 2083506"/>
              <a:gd name="connsiteX84" fmla="*/ 7630180 w 12191999"/>
              <a:gd name="connsiteY84" fmla="*/ 1970266 h 2083506"/>
              <a:gd name="connsiteX85" fmla="*/ 7609131 w 12191999"/>
              <a:gd name="connsiteY85" fmla="*/ 1971774 h 2083506"/>
              <a:gd name="connsiteX86" fmla="*/ 7555555 w 12191999"/>
              <a:gd name="connsiteY86" fmla="*/ 1969491 h 2083506"/>
              <a:gd name="connsiteX87" fmla="*/ 7520919 w 12191999"/>
              <a:gd name="connsiteY87" fmla="*/ 1970177 h 2083506"/>
              <a:gd name="connsiteX88" fmla="*/ 7456258 w 12191999"/>
              <a:gd name="connsiteY88" fmla="*/ 1960468 h 2083506"/>
              <a:gd name="connsiteX89" fmla="*/ 7393047 w 12191999"/>
              <a:gd name="connsiteY89" fmla="*/ 1952408 h 2083506"/>
              <a:gd name="connsiteX90" fmla="*/ 7199912 w 12191999"/>
              <a:gd name="connsiteY90" fmla="*/ 1959913 h 2083506"/>
              <a:gd name="connsiteX91" fmla="*/ 7146774 w 12191999"/>
              <a:gd name="connsiteY91" fmla="*/ 1956641 h 2083506"/>
              <a:gd name="connsiteX92" fmla="*/ 7122244 w 12191999"/>
              <a:gd name="connsiteY92" fmla="*/ 1953891 h 2083506"/>
              <a:gd name="connsiteX93" fmla="*/ 7032241 w 12191999"/>
              <a:gd name="connsiteY93" fmla="*/ 1962723 h 2083506"/>
              <a:gd name="connsiteX94" fmla="*/ 6941492 w 12191999"/>
              <a:gd name="connsiteY94" fmla="*/ 1976868 h 2083506"/>
              <a:gd name="connsiteX95" fmla="*/ 6906514 w 12191999"/>
              <a:gd name="connsiteY95" fmla="*/ 1968589 h 2083506"/>
              <a:gd name="connsiteX96" fmla="*/ 6826395 w 12191999"/>
              <a:gd name="connsiteY96" fmla="*/ 1974141 h 2083506"/>
              <a:gd name="connsiteX97" fmla="*/ 6716431 w 12191999"/>
              <a:gd name="connsiteY97" fmla="*/ 2004297 h 2083506"/>
              <a:gd name="connsiteX98" fmla="*/ 6569607 w 12191999"/>
              <a:gd name="connsiteY98" fmla="*/ 2015496 h 2083506"/>
              <a:gd name="connsiteX99" fmla="*/ 6561430 w 12191999"/>
              <a:gd name="connsiteY99" fmla="*/ 2020996 h 2083506"/>
              <a:gd name="connsiteX100" fmla="*/ 6549371 w 12191999"/>
              <a:gd name="connsiteY100" fmla="*/ 2024747 h 2083506"/>
              <a:gd name="connsiteX101" fmla="*/ 6547040 w 12191999"/>
              <a:gd name="connsiteY101" fmla="*/ 2024474 h 2083506"/>
              <a:gd name="connsiteX102" fmla="*/ 6530482 w 12191999"/>
              <a:gd name="connsiteY102" fmla="*/ 2026659 h 2083506"/>
              <a:gd name="connsiteX103" fmla="*/ 6528565 w 12191999"/>
              <a:gd name="connsiteY103" fmla="*/ 2028600 h 2083506"/>
              <a:gd name="connsiteX104" fmla="*/ 6517741 w 12191999"/>
              <a:gd name="connsiteY104" fmla="*/ 2030558 h 2083506"/>
              <a:gd name="connsiteX105" fmla="*/ 6497855 w 12191999"/>
              <a:gd name="connsiteY105" fmla="*/ 2035650 h 2083506"/>
              <a:gd name="connsiteX106" fmla="*/ 6492785 w 12191999"/>
              <a:gd name="connsiteY106" fmla="*/ 2035444 h 2083506"/>
              <a:gd name="connsiteX107" fmla="*/ 6460692 w 12191999"/>
              <a:gd name="connsiteY107" fmla="*/ 2041321 h 2083506"/>
              <a:gd name="connsiteX108" fmla="*/ 6459609 w 12191999"/>
              <a:gd name="connsiteY108" fmla="*/ 2040851 h 2083506"/>
              <a:gd name="connsiteX109" fmla="*/ 6447765 w 12191999"/>
              <a:gd name="connsiteY109" fmla="*/ 2040102 h 2083506"/>
              <a:gd name="connsiteX110" fmla="*/ 6426590 w 12191999"/>
              <a:gd name="connsiteY110" fmla="*/ 2039928 h 2083506"/>
              <a:gd name="connsiteX111" fmla="*/ 6401693 w 12191999"/>
              <a:gd name="connsiteY111" fmla="*/ 2033537 h 2083506"/>
              <a:gd name="connsiteX112" fmla="*/ 6387141 w 12191999"/>
              <a:gd name="connsiteY112" fmla="*/ 2033161 h 2083506"/>
              <a:gd name="connsiteX113" fmla="*/ 6357846 w 12191999"/>
              <a:gd name="connsiteY113" fmla="*/ 2036782 h 2083506"/>
              <a:gd name="connsiteX114" fmla="*/ 6342914 w 12191999"/>
              <a:gd name="connsiteY114" fmla="*/ 2037585 h 2083506"/>
              <a:gd name="connsiteX115" fmla="*/ 6336300 w 12191999"/>
              <a:gd name="connsiteY115" fmla="*/ 2038781 h 2083506"/>
              <a:gd name="connsiteX116" fmla="*/ 6317178 w 12191999"/>
              <a:gd name="connsiteY116" fmla="*/ 2038968 h 2083506"/>
              <a:gd name="connsiteX117" fmla="*/ 6161427 w 12191999"/>
              <a:gd name="connsiteY117" fmla="*/ 2047338 h 2083506"/>
              <a:gd name="connsiteX118" fmla="*/ 6097339 w 12191999"/>
              <a:gd name="connsiteY118" fmla="*/ 2082438 h 2083506"/>
              <a:gd name="connsiteX119" fmla="*/ 6079059 w 12191999"/>
              <a:gd name="connsiteY119" fmla="*/ 2081299 h 2083506"/>
              <a:gd name="connsiteX120" fmla="*/ 5998439 w 12191999"/>
              <a:gd name="connsiteY120" fmla="*/ 2070958 h 2083506"/>
              <a:gd name="connsiteX121" fmla="*/ 5904290 w 12191999"/>
              <a:gd name="connsiteY121" fmla="*/ 2070255 h 2083506"/>
              <a:gd name="connsiteX122" fmla="*/ 5814867 w 12191999"/>
              <a:gd name="connsiteY122" fmla="*/ 2079032 h 2083506"/>
              <a:gd name="connsiteX123" fmla="*/ 5725743 w 12191999"/>
              <a:gd name="connsiteY123" fmla="*/ 2070558 h 2083506"/>
              <a:gd name="connsiteX124" fmla="*/ 5650546 w 12191999"/>
              <a:gd name="connsiteY124" fmla="*/ 2052412 h 2083506"/>
              <a:gd name="connsiteX125" fmla="*/ 5581284 w 12191999"/>
              <a:gd name="connsiteY125" fmla="*/ 2023175 h 2083506"/>
              <a:gd name="connsiteX126" fmla="*/ 5572593 w 12191999"/>
              <a:gd name="connsiteY126" fmla="*/ 2018391 h 2083506"/>
              <a:gd name="connsiteX127" fmla="*/ 5548580 w 12191999"/>
              <a:gd name="connsiteY127" fmla="*/ 2016951 h 2083506"/>
              <a:gd name="connsiteX128" fmla="*/ 5471173 w 12191999"/>
              <a:gd name="connsiteY128" fmla="*/ 2018786 h 2083506"/>
              <a:gd name="connsiteX129" fmla="*/ 5340320 w 12191999"/>
              <a:gd name="connsiteY129" fmla="*/ 2037611 h 2083506"/>
              <a:gd name="connsiteX130" fmla="*/ 5254376 w 12191999"/>
              <a:gd name="connsiteY130" fmla="*/ 2042928 h 2083506"/>
              <a:gd name="connsiteX131" fmla="*/ 5258035 w 12191999"/>
              <a:gd name="connsiteY131" fmla="*/ 2035649 h 2083506"/>
              <a:gd name="connsiteX132" fmla="*/ 5230622 w 12191999"/>
              <a:gd name="connsiteY132" fmla="*/ 2024576 h 2083506"/>
              <a:gd name="connsiteX133" fmla="*/ 5026203 w 12191999"/>
              <a:gd name="connsiteY133" fmla="*/ 2030162 h 2083506"/>
              <a:gd name="connsiteX134" fmla="*/ 4973988 w 12191999"/>
              <a:gd name="connsiteY134" fmla="*/ 2026668 h 2083506"/>
              <a:gd name="connsiteX135" fmla="*/ 4928030 w 12191999"/>
              <a:gd name="connsiteY135" fmla="*/ 2033642 h 2083506"/>
              <a:gd name="connsiteX136" fmla="*/ 4908970 w 12191999"/>
              <a:gd name="connsiteY136" fmla="*/ 2030033 h 2083506"/>
              <a:gd name="connsiteX137" fmla="*/ 4905679 w 12191999"/>
              <a:gd name="connsiteY137" fmla="*/ 2029300 h 2083506"/>
              <a:gd name="connsiteX138" fmla="*/ 4892525 w 12191999"/>
              <a:gd name="connsiteY138" fmla="*/ 2028768 h 2083506"/>
              <a:gd name="connsiteX139" fmla="*/ 4888818 w 12191999"/>
              <a:gd name="connsiteY139" fmla="*/ 2025619 h 2083506"/>
              <a:gd name="connsiteX140" fmla="*/ 4869018 w 12191999"/>
              <a:gd name="connsiteY140" fmla="*/ 2022668 h 2083506"/>
              <a:gd name="connsiteX141" fmla="*/ 4844804 w 12191999"/>
              <a:gd name="connsiteY141" fmla="*/ 2022527 h 2083506"/>
              <a:gd name="connsiteX142" fmla="*/ 4758778 w 12191999"/>
              <a:gd name="connsiteY142" fmla="*/ 2021694 h 2083506"/>
              <a:gd name="connsiteX143" fmla="*/ 4744748 w 12191999"/>
              <a:gd name="connsiteY143" fmla="*/ 2023396 h 2083506"/>
              <a:gd name="connsiteX144" fmla="*/ 4698956 w 12191999"/>
              <a:gd name="connsiteY144" fmla="*/ 2020558 h 2083506"/>
              <a:gd name="connsiteX145" fmla="*/ 4658147 w 12191999"/>
              <a:gd name="connsiteY145" fmla="*/ 2019920 h 2083506"/>
              <a:gd name="connsiteX146" fmla="*/ 4631706 w 12191999"/>
              <a:gd name="connsiteY146" fmla="*/ 2021274 h 2083506"/>
              <a:gd name="connsiteX147" fmla="*/ 4624776 w 12191999"/>
              <a:gd name="connsiteY147" fmla="*/ 2020152 h 2083506"/>
              <a:gd name="connsiteX148" fmla="*/ 4598150 w 12191999"/>
              <a:gd name="connsiteY148" fmla="*/ 2019429 h 2083506"/>
              <a:gd name="connsiteX149" fmla="*/ 4584588 w 12191999"/>
              <a:gd name="connsiteY149" fmla="*/ 2021092 h 2083506"/>
              <a:gd name="connsiteX150" fmla="*/ 4571203 w 12191999"/>
              <a:gd name="connsiteY150" fmla="*/ 2017263 h 2083506"/>
              <a:gd name="connsiteX151" fmla="*/ 4567930 w 12191999"/>
              <a:gd name="connsiteY151" fmla="*/ 2014458 h 2083506"/>
              <a:gd name="connsiteX152" fmla="*/ 4548984 w 12191999"/>
              <a:gd name="connsiteY152" fmla="*/ 2015717 h 2083506"/>
              <a:gd name="connsiteX153" fmla="*/ 4533451 w 12191999"/>
              <a:gd name="connsiteY153" fmla="*/ 2012976 h 2083506"/>
              <a:gd name="connsiteX154" fmla="*/ 4519910 w 12191999"/>
              <a:gd name="connsiteY154" fmla="*/ 2014768 h 2083506"/>
              <a:gd name="connsiteX155" fmla="*/ 4514290 w 12191999"/>
              <a:gd name="connsiteY155" fmla="*/ 2014364 h 2083506"/>
              <a:gd name="connsiteX156" fmla="*/ 4500320 w 12191999"/>
              <a:gd name="connsiteY156" fmla="*/ 2013007 h 2083506"/>
              <a:gd name="connsiteX157" fmla="*/ 4476219 w 12191999"/>
              <a:gd name="connsiteY157" fmla="*/ 2009993 h 2083506"/>
              <a:gd name="connsiteX158" fmla="*/ 4468701 w 12191999"/>
              <a:gd name="connsiteY158" fmla="*/ 2009574 h 2083506"/>
              <a:gd name="connsiteX159" fmla="*/ 4452333 w 12191999"/>
              <a:gd name="connsiteY159" fmla="*/ 2004964 h 2083506"/>
              <a:gd name="connsiteX160" fmla="*/ 4420644 w 12191999"/>
              <a:gd name="connsiteY160" fmla="*/ 2001021 h 2083506"/>
              <a:gd name="connsiteX161" fmla="*/ 4364856 w 12191999"/>
              <a:gd name="connsiteY161" fmla="*/ 1987267 h 2083506"/>
              <a:gd name="connsiteX162" fmla="*/ 4332062 w 12191999"/>
              <a:gd name="connsiteY162" fmla="*/ 1980703 h 2083506"/>
              <a:gd name="connsiteX163" fmla="*/ 4309876 w 12191999"/>
              <a:gd name="connsiteY163" fmla="*/ 1974653 h 2083506"/>
              <a:gd name="connsiteX164" fmla="*/ 4244391 w 12191999"/>
              <a:gd name="connsiteY164" fmla="*/ 1966109 h 2083506"/>
              <a:gd name="connsiteX165" fmla="*/ 4132071 w 12191999"/>
              <a:gd name="connsiteY165" fmla="*/ 1954813 h 2083506"/>
              <a:gd name="connsiteX166" fmla="*/ 4109069 w 12191999"/>
              <a:gd name="connsiteY166" fmla="*/ 1951778 h 2083506"/>
              <a:gd name="connsiteX167" fmla="*/ 4092908 w 12191999"/>
              <a:gd name="connsiteY167" fmla="*/ 1946662 h 2083506"/>
              <a:gd name="connsiteX168" fmla="*/ 4092306 w 12191999"/>
              <a:gd name="connsiteY168" fmla="*/ 1943291 h 2083506"/>
              <a:gd name="connsiteX169" fmla="*/ 4080234 w 12191999"/>
              <a:gd name="connsiteY169" fmla="*/ 1941219 h 2083506"/>
              <a:gd name="connsiteX170" fmla="*/ 4077778 w 12191999"/>
              <a:gd name="connsiteY170" fmla="*/ 1940145 h 2083506"/>
              <a:gd name="connsiteX171" fmla="*/ 4062936 w 12191999"/>
              <a:gd name="connsiteY171" fmla="*/ 1934506 h 2083506"/>
              <a:gd name="connsiteX172" fmla="*/ 4012506 w 12191999"/>
              <a:gd name="connsiteY172" fmla="*/ 1935475 h 2083506"/>
              <a:gd name="connsiteX173" fmla="*/ 3965880 w 12191999"/>
              <a:gd name="connsiteY173" fmla="*/ 1925968 h 2083506"/>
              <a:gd name="connsiteX174" fmla="*/ 3765338 w 12191999"/>
              <a:gd name="connsiteY174" fmla="*/ 1906649 h 2083506"/>
              <a:gd name="connsiteX175" fmla="*/ 3749493 w 12191999"/>
              <a:gd name="connsiteY175" fmla="*/ 1893071 h 2083506"/>
              <a:gd name="connsiteX176" fmla="*/ 3672704 w 12191999"/>
              <a:gd name="connsiteY176" fmla="*/ 1881383 h 2083506"/>
              <a:gd name="connsiteX177" fmla="*/ 3530082 w 12191999"/>
              <a:gd name="connsiteY177" fmla="*/ 1883187 h 2083506"/>
              <a:gd name="connsiteX178" fmla="*/ 3387664 w 12191999"/>
              <a:gd name="connsiteY178" fmla="*/ 1862579 h 2083506"/>
              <a:gd name="connsiteX179" fmla="*/ 3371681 w 12191999"/>
              <a:gd name="connsiteY179" fmla="*/ 1865293 h 2083506"/>
              <a:gd name="connsiteX180" fmla="*/ 3355305 w 12191999"/>
              <a:gd name="connsiteY180" fmla="*/ 1865842 h 2083506"/>
              <a:gd name="connsiteX181" fmla="*/ 3353790 w 12191999"/>
              <a:gd name="connsiteY181" fmla="*/ 1865158 h 2083506"/>
              <a:gd name="connsiteX182" fmla="*/ 3336210 w 12191999"/>
              <a:gd name="connsiteY182" fmla="*/ 1863564 h 2083506"/>
              <a:gd name="connsiteX183" fmla="*/ 3331381 w 12191999"/>
              <a:gd name="connsiteY183" fmla="*/ 1864716 h 2083506"/>
              <a:gd name="connsiteX184" fmla="*/ 3319012 w 12191999"/>
              <a:gd name="connsiteY184" fmla="*/ 1864093 h 2083506"/>
              <a:gd name="connsiteX185" fmla="*/ 3293818 w 12191999"/>
              <a:gd name="connsiteY185" fmla="*/ 1864135 h 2083506"/>
              <a:gd name="connsiteX186" fmla="*/ 3289881 w 12191999"/>
              <a:gd name="connsiteY186" fmla="*/ 1862954 h 2083506"/>
              <a:gd name="connsiteX187" fmla="*/ 3253090 w 12191999"/>
              <a:gd name="connsiteY187" fmla="*/ 1861164 h 2083506"/>
              <a:gd name="connsiteX188" fmla="*/ 3252949 w 12191999"/>
              <a:gd name="connsiteY188" fmla="*/ 1860574 h 2083506"/>
              <a:gd name="connsiteX189" fmla="*/ 3244187 w 12191999"/>
              <a:gd name="connsiteY189" fmla="*/ 1857604 h 2083506"/>
              <a:gd name="connsiteX190" fmla="*/ 3246570 w 12191999"/>
              <a:gd name="connsiteY190" fmla="*/ 1852946 h 2083506"/>
              <a:gd name="connsiteX191" fmla="*/ 3237810 w 12191999"/>
              <a:gd name="connsiteY191" fmla="*/ 1853064 h 2083506"/>
              <a:gd name="connsiteX192" fmla="*/ 3230822 w 12191999"/>
              <a:gd name="connsiteY192" fmla="*/ 1855474 h 2083506"/>
              <a:gd name="connsiteX193" fmla="*/ 3136549 w 12191999"/>
              <a:gd name="connsiteY193" fmla="*/ 1874037 h 2083506"/>
              <a:gd name="connsiteX194" fmla="*/ 2845754 w 12191999"/>
              <a:gd name="connsiteY194" fmla="*/ 1910932 h 2083506"/>
              <a:gd name="connsiteX195" fmla="*/ 2786878 w 12191999"/>
              <a:gd name="connsiteY195" fmla="*/ 1917162 h 2083506"/>
              <a:gd name="connsiteX196" fmla="*/ 2725298 w 12191999"/>
              <a:gd name="connsiteY196" fmla="*/ 1912340 h 2083506"/>
              <a:gd name="connsiteX197" fmla="*/ 2697754 w 12191999"/>
              <a:gd name="connsiteY197" fmla="*/ 1914863 h 2083506"/>
              <a:gd name="connsiteX198" fmla="*/ 2568063 w 12191999"/>
              <a:gd name="connsiteY198" fmla="*/ 1936283 h 2083506"/>
              <a:gd name="connsiteX199" fmla="*/ 2489784 w 12191999"/>
              <a:gd name="connsiteY199" fmla="*/ 1943720 h 2083506"/>
              <a:gd name="connsiteX200" fmla="*/ 2458978 w 12191999"/>
              <a:gd name="connsiteY200" fmla="*/ 1938095 h 2083506"/>
              <a:gd name="connsiteX201" fmla="*/ 2318712 w 12191999"/>
              <a:gd name="connsiteY201" fmla="*/ 1934474 h 2083506"/>
              <a:gd name="connsiteX202" fmla="*/ 2268709 w 12191999"/>
              <a:gd name="connsiteY202" fmla="*/ 1940521 h 2083506"/>
              <a:gd name="connsiteX203" fmla="*/ 2264080 w 12191999"/>
              <a:gd name="connsiteY203" fmla="*/ 1941232 h 2083506"/>
              <a:gd name="connsiteX204" fmla="*/ 2254684 w 12191999"/>
              <a:gd name="connsiteY204" fmla="*/ 1943524 h 2083506"/>
              <a:gd name="connsiteX205" fmla="*/ 2252523 w 12191999"/>
              <a:gd name="connsiteY205" fmla="*/ 1943004 h 2083506"/>
              <a:gd name="connsiteX206" fmla="*/ 2173350 w 12191999"/>
              <a:gd name="connsiteY206" fmla="*/ 1929202 h 2083506"/>
              <a:gd name="connsiteX207" fmla="*/ 2155266 w 12191999"/>
              <a:gd name="connsiteY207" fmla="*/ 1920267 h 2083506"/>
              <a:gd name="connsiteX208" fmla="*/ 2091013 w 12191999"/>
              <a:gd name="connsiteY208" fmla="*/ 1914631 h 2083506"/>
              <a:gd name="connsiteX209" fmla="*/ 2030712 w 12191999"/>
              <a:gd name="connsiteY209" fmla="*/ 1897690 h 2083506"/>
              <a:gd name="connsiteX210" fmla="*/ 1908838 w 12191999"/>
              <a:gd name="connsiteY210" fmla="*/ 1892222 h 2083506"/>
              <a:gd name="connsiteX211" fmla="*/ 1877796 w 12191999"/>
              <a:gd name="connsiteY211" fmla="*/ 1883887 h 2083506"/>
              <a:gd name="connsiteX212" fmla="*/ 1875824 w 12191999"/>
              <a:gd name="connsiteY212" fmla="*/ 1879265 h 2083506"/>
              <a:gd name="connsiteX213" fmla="*/ 1823048 w 12191999"/>
              <a:gd name="connsiteY213" fmla="*/ 1881064 h 2083506"/>
              <a:gd name="connsiteX214" fmla="*/ 1765736 w 12191999"/>
              <a:gd name="connsiteY214" fmla="*/ 1856578 h 2083506"/>
              <a:gd name="connsiteX215" fmla="*/ 1725669 w 12191999"/>
              <a:gd name="connsiteY215" fmla="*/ 1833744 h 2083506"/>
              <a:gd name="connsiteX216" fmla="*/ 1725216 w 12191999"/>
              <a:gd name="connsiteY216" fmla="*/ 1829447 h 2083506"/>
              <a:gd name="connsiteX217" fmla="*/ 1721485 w 12191999"/>
              <a:gd name="connsiteY217" fmla="*/ 1828960 h 2083506"/>
              <a:gd name="connsiteX218" fmla="*/ 1717786 w 12191999"/>
              <a:gd name="connsiteY218" fmla="*/ 1832224 h 2083506"/>
              <a:gd name="connsiteX219" fmla="*/ 1689907 w 12191999"/>
              <a:gd name="connsiteY219" fmla="*/ 1825425 h 2083506"/>
              <a:gd name="connsiteX220" fmla="*/ 1688093 w 12191999"/>
              <a:gd name="connsiteY220" fmla="*/ 1817391 h 2083506"/>
              <a:gd name="connsiteX221" fmla="*/ 1496789 w 12191999"/>
              <a:gd name="connsiteY221" fmla="*/ 1805297 h 2083506"/>
              <a:gd name="connsiteX222" fmla="*/ 1392839 w 12191999"/>
              <a:gd name="connsiteY222" fmla="*/ 1758649 h 2083506"/>
              <a:gd name="connsiteX223" fmla="*/ 1360872 w 12191999"/>
              <a:gd name="connsiteY223" fmla="*/ 1752441 h 2083506"/>
              <a:gd name="connsiteX224" fmla="*/ 1313885 w 12191999"/>
              <a:gd name="connsiteY224" fmla="*/ 1731785 h 2083506"/>
              <a:gd name="connsiteX225" fmla="*/ 1247665 w 12191999"/>
              <a:gd name="connsiteY225" fmla="*/ 1727765 h 2083506"/>
              <a:gd name="connsiteX226" fmla="*/ 1196850 w 12191999"/>
              <a:gd name="connsiteY226" fmla="*/ 1729622 h 2083506"/>
              <a:gd name="connsiteX227" fmla="*/ 1168728 w 12191999"/>
              <a:gd name="connsiteY227" fmla="*/ 1728550 h 2083506"/>
              <a:gd name="connsiteX228" fmla="*/ 1096918 w 12191999"/>
              <a:gd name="connsiteY228" fmla="*/ 1721485 h 2083506"/>
              <a:gd name="connsiteX229" fmla="*/ 1094082 w 12191999"/>
              <a:gd name="connsiteY229" fmla="*/ 1720113 h 2083506"/>
              <a:gd name="connsiteX230" fmla="*/ 1040782 w 12191999"/>
              <a:gd name="connsiteY230" fmla="*/ 1721762 h 2083506"/>
              <a:gd name="connsiteX231" fmla="*/ 955980 w 12191999"/>
              <a:gd name="connsiteY231" fmla="*/ 1719289 h 2083506"/>
              <a:gd name="connsiteX232" fmla="*/ 926108 w 12191999"/>
              <a:gd name="connsiteY232" fmla="*/ 1715917 h 2083506"/>
              <a:gd name="connsiteX233" fmla="*/ 876049 w 12191999"/>
              <a:gd name="connsiteY233" fmla="*/ 1710422 h 2083506"/>
              <a:gd name="connsiteX234" fmla="*/ 839194 w 12191999"/>
              <a:gd name="connsiteY234" fmla="*/ 1700176 h 2083506"/>
              <a:gd name="connsiteX235" fmla="*/ 797112 w 12191999"/>
              <a:gd name="connsiteY235" fmla="*/ 1698014 h 2083506"/>
              <a:gd name="connsiteX236" fmla="*/ 786610 w 12191999"/>
              <a:gd name="connsiteY236" fmla="*/ 1705455 h 2083506"/>
              <a:gd name="connsiteX237" fmla="*/ 741833 w 12191999"/>
              <a:gd name="connsiteY237" fmla="*/ 1700566 h 2083506"/>
              <a:gd name="connsiteX238" fmla="*/ 673985 w 12191999"/>
              <a:gd name="connsiteY238" fmla="*/ 1692278 h 2083506"/>
              <a:gd name="connsiteX239" fmla="*/ 634665 w 12191999"/>
              <a:gd name="connsiteY239" fmla="*/ 1689550 h 2083506"/>
              <a:gd name="connsiteX240" fmla="*/ 527471 w 12191999"/>
              <a:gd name="connsiteY240" fmla="*/ 1679869 h 2083506"/>
              <a:gd name="connsiteX241" fmla="*/ 420260 w 12191999"/>
              <a:gd name="connsiteY241" fmla="*/ 1668475 h 2083506"/>
              <a:gd name="connsiteX242" fmla="*/ 357630 w 12191999"/>
              <a:gd name="connsiteY242" fmla="*/ 1652142 h 2083506"/>
              <a:gd name="connsiteX243" fmla="*/ 269407 w 12191999"/>
              <a:gd name="connsiteY243" fmla="*/ 1643812 h 2083506"/>
              <a:gd name="connsiteX244" fmla="*/ 254769 w 12191999"/>
              <a:gd name="connsiteY244" fmla="*/ 1641013 h 2083506"/>
              <a:gd name="connsiteX245" fmla="*/ 150763 w 12191999"/>
              <a:gd name="connsiteY245" fmla="*/ 1628143 h 2083506"/>
              <a:gd name="connsiteX246" fmla="*/ 29133 w 12191999"/>
              <a:gd name="connsiteY246" fmla="*/ 1626172 h 2083506"/>
              <a:gd name="connsiteX247" fmla="*/ 0 w 12191999"/>
              <a:gd name="connsiteY247" fmla="*/ 1619589 h 2083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</a:cxnLst>
            <a:rect l="l" t="t" r="r" b="b"/>
            <a:pathLst>
              <a:path w="12191999" h="2083506">
                <a:moveTo>
                  <a:pt x="0" y="0"/>
                </a:moveTo>
                <a:lnTo>
                  <a:pt x="9429748" y="0"/>
                </a:lnTo>
                <a:lnTo>
                  <a:pt x="9429748" y="1"/>
                </a:lnTo>
                <a:lnTo>
                  <a:pt x="12191999" y="1"/>
                </a:lnTo>
                <a:lnTo>
                  <a:pt x="12191999" y="1164372"/>
                </a:lnTo>
                <a:lnTo>
                  <a:pt x="12147852" y="1163783"/>
                </a:lnTo>
                <a:cubicBezTo>
                  <a:pt x="12063101" y="1189107"/>
                  <a:pt x="12045020" y="1156925"/>
                  <a:pt x="11993604" y="1153496"/>
                </a:cubicBezTo>
                <a:cubicBezTo>
                  <a:pt x="11954216" y="1165241"/>
                  <a:pt x="11911195" y="1167350"/>
                  <a:pt x="11865319" y="1176624"/>
                </a:cubicBezTo>
                <a:cubicBezTo>
                  <a:pt x="11822513" y="1184682"/>
                  <a:pt x="11766915" y="1201558"/>
                  <a:pt x="11718353" y="1209136"/>
                </a:cubicBezTo>
                <a:cubicBezTo>
                  <a:pt x="11675379" y="1217463"/>
                  <a:pt x="11638007" y="1216639"/>
                  <a:pt x="11609067" y="1218512"/>
                </a:cubicBezTo>
                <a:cubicBezTo>
                  <a:pt x="11597582" y="1221322"/>
                  <a:pt x="11554280" y="1243577"/>
                  <a:pt x="11545958" y="1240430"/>
                </a:cubicBezTo>
                <a:lnTo>
                  <a:pt x="11445770" y="1225780"/>
                </a:lnTo>
                <a:cubicBezTo>
                  <a:pt x="11425543" y="1230782"/>
                  <a:pt x="11413740" y="1222096"/>
                  <a:pt x="11398842" y="1227250"/>
                </a:cubicBezTo>
                <a:cubicBezTo>
                  <a:pt x="11367060" y="1233093"/>
                  <a:pt x="11269285" y="1263712"/>
                  <a:pt x="11240093" y="1266797"/>
                </a:cubicBezTo>
                <a:cubicBezTo>
                  <a:pt x="11197297" y="1273685"/>
                  <a:pt x="11181311" y="1272682"/>
                  <a:pt x="11141364" y="1288059"/>
                </a:cubicBezTo>
                <a:cubicBezTo>
                  <a:pt x="11099891" y="1305386"/>
                  <a:pt x="11051533" y="1319157"/>
                  <a:pt x="11015396" y="1353104"/>
                </a:cubicBezTo>
                <a:cubicBezTo>
                  <a:pt x="11009424" y="1362217"/>
                  <a:pt x="10992328" y="1361966"/>
                  <a:pt x="10973905" y="1365109"/>
                </a:cubicBezTo>
                <a:cubicBezTo>
                  <a:pt x="10955482" y="1368254"/>
                  <a:pt x="10907369" y="1372817"/>
                  <a:pt x="10904858" y="1371966"/>
                </a:cubicBezTo>
                <a:cubicBezTo>
                  <a:pt x="10880521" y="1379494"/>
                  <a:pt x="10873670" y="1399734"/>
                  <a:pt x="10827883" y="1410270"/>
                </a:cubicBezTo>
                <a:cubicBezTo>
                  <a:pt x="10790248" y="1415655"/>
                  <a:pt x="10724899" y="1420726"/>
                  <a:pt x="10690996" y="1426394"/>
                </a:cubicBezTo>
                <a:cubicBezTo>
                  <a:pt x="10676463" y="1423331"/>
                  <a:pt x="10634514" y="1436908"/>
                  <a:pt x="10624461" y="1444283"/>
                </a:cubicBezTo>
                <a:cubicBezTo>
                  <a:pt x="10601952" y="1468442"/>
                  <a:pt x="10536224" y="1460228"/>
                  <a:pt x="10517208" y="1478947"/>
                </a:cubicBezTo>
                <a:cubicBezTo>
                  <a:pt x="10509508" y="1482271"/>
                  <a:pt x="10505833" y="1468818"/>
                  <a:pt x="10497937" y="1469831"/>
                </a:cubicBezTo>
                <a:lnTo>
                  <a:pt x="10471201" y="1486037"/>
                </a:lnTo>
                <a:lnTo>
                  <a:pt x="10448263" y="1478223"/>
                </a:lnTo>
                <a:lnTo>
                  <a:pt x="10388089" y="1507175"/>
                </a:lnTo>
                <a:cubicBezTo>
                  <a:pt x="10350285" y="1513081"/>
                  <a:pt x="10383281" y="1526586"/>
                  <a:pt x="10333720" y="1515848"/>
                </a:cubicBezTo>
                <a:cubicBezTo>
                  <a:pt x="10286428" y="1526223"/>
                  <a:pt x="10174884" y="1550019"/>
                  <a:pt x="10104338" y="1569424"/>
                </a:cubicBezTo>
                <a:cubicBezTo>
                  <a:pt x="10066963" y="1581564"/>
                  <a:pt x="9967395" y="1605712"/>
                  <a:pt x="9910445" y="1632275"/>
                </a:cubicBezTo>
                <a:cubicBezTo>
                  <a:pt x="9856131" y="1644130"/>
                  <a:pt x="9831118" y="1689967"/>
                  <a:pt x="9770872" y="1688088"/>
                </a:cubicBezTo>
                <a:cubicBezTo>
                  <a:pt x="9769882" y="1691843"/>
                  <a:pt x="9737016" y="1697044"/>
                  <a:pt x="9733849" y="1700034"/>
                </a:cubicBezTo>
                <a:lnTo>
                  <a:pt x="9703714" y="1730093"/>
                </a:lnTo>
                <a:lnTo>
                  <a:pt x="9698351" y="1730377"/>
                </a:lnTo>
                <a:lnTo>
                  <a:pt x="9632895" y="1736363"/>
                </a:lnTo>
                <a:lnTo>
                  <a:pt x="9569107" y="1741010"/>
                </a:lnTo>
                <a:cubicBezTo>
                  <a:pt x="9558961" y="1745882"/>
                  <a:pt x="9548028" y="1750646"/>
                  <a:pt x="9536451" y="1755120"/>
                </a:cubicBezTo>
                <a:lnTo>
                  <a:pt x="9529385" y="1757515"/>
                </a:lnTo>
                <a:lnTo>
                  <a:pt x="9498527" y="1753117"/>
                </a:lnTo>
                <a:lnTo>
                  <a:pt x="9436642" y="1755478"/>
                </a:lnTo>
                <a:lnTo>
                  <a:pt x="9429748" y="1756317"/>
                </a:lnTo>
                <a:lnTo>
                  <a:pt x="9429748" y="1768745"/>
                </a:lnTo>
                <a:lnTo>
                  <a:pt x="9425802" y="1769273"/>
                </a:lnTo>
                <a:cubicBezTo>
                  <a:pt x="9390751" y="1773262"/>
                  <a:pt x="9371406" y="1773457"/>
                  <a:pt x="9349763" y="1776107"/>
                </a:cubicBezTo>
                <a:cubicBezTo>
                  <a:pt x="9314721" y="1782260"/>
                  <a:pt x="9277650" y="1796217"/>
                  <a:pt x="9256503" y="1800699"/>
                </a:cubicBezTo>
                <a:lnTo>
                  <a:pt x="9222873" y="1803003"/>
                </a:lnTo>
                <a:lnTo>
                  <a:pt x="9224095" y="1807355"/>
                </a:lnTo>
                <a:lnTo>
                  <a:pt x="9211603" y="1807675"/>
                </a:lnTo>
                <a:lnTo>
                  <a:pt x="9183719" y="1807781"/>
                </a:lnTo>
                <a:cubicBezTo>
                  <a:pt x="9166319" y="1808439"/>
                  <a:pt x="9117935" y="1807396"/>
                  <a:pt x="9100221" y="1808989"/>
                </a:cubicBezTo>
                <a:cubicBezTo>
                  <a:pt x="9095111" y="1813630"/>
                  <a:pt x="9087224" y="1816160"/>
                  <a:pt x="9077439" y="1817333"/>
                </a:cubicBezTo>
                <a:lnTo>
                  <a:pt x="9055889" y="1817464"/>
                </a:lnTo>
                <a:lnTo>
                  <a:pt x="8930912" y="1828648"/>
                </a:lnTo>
                <a:lnTo>
                  <a:pt x="8913729" y="1829483"/>
                </a:lnTo>
                <a:lnTo>
                  <a:pt x="8904423" y="1833234"/>
                </a:lnTo>
                <a:cubicBezTo>
                  <a:pt x="8897319" y="1833982"/>
                  <a:pt x="8876911" y="1833498"/>
                  <a:pt x="8871099" y="1833979"/>
                </a:cubicBezTo>
                <a:lnTo>
                  <a:pt x="8869557" y="1836113"/>
                </a:lnTo>
                <a:cubicBezTo>
                  <a:pt x="8851043" y="1839524"/>
                  <a:pt x="8781405" y="1850882"/>
                  <a:pt x="8760021" y="1854442"/>
                </a:cubicBezTo>
                <a:cubicBezTo>
                  <a:pt x="8755749" y="1851161"/>
                  <a:pt x="8746183" y="1856343"/>
                  <a:pt x="8741254" y="1857469"/>
                </a:cubicBezTo>
                <a:cubicBezTo>
                  <a:pt x="8740491" y="1855259"/>
                  <a:pt x="8728559" y="1854585"/>
                  <a:pt x="8725039" y="1856552"/>
                </a:cubicBezTo>
                <a:cubicBezTo>
                  <a:pt x="8641157" y="1867333"/>
                  <a:pt x="8683145" y="1845054"/>
                  <a:pt x="8635265" y="1859168"/>
                </a:cubicBezTo>
                <a:cubicBezTo>
                  <a:pt x="8626795" y="1860103"/>
                  <a:pt x="8619931" y="1859212"/>
                  <a:pt x="8613911" y="1857561"/>
                </a:cubicBezTo>
                <a:lnTo>
                  <a:pt x="8604931" y="1854170"/>
                </a:lnTo>
                <a:lnTo>
                  <a:pt x="8570171" y="1860579"/>
                </a:lnTo>
                <a:cubicBezTo>
                  <a:pt x="8553049" y="1862813"/>
                  <a:pt x="8535028" y="1864294"/>
                  <a:pt x="8516537" y="1864971"/>
                </a:cubicBezTo>
                <a:cubicBezTo>
                  <a:pt x="8512388" y="1860455"/>
                  <a:pt x="8497874" y="1866870"/>
                  <a:pt x="8491046" y="1868141"/>
                </a:cubicBezTo>
                <a:cubicBezTo>
                  <a:pt x="8490975" y="1865191"/>
                  <a:pt x="8475847" y="1863778"/>
                  <a:pt x="8470478" y="1866216"/>
                </a:cubicBezTo>
                <a:cubicBezTo>
                  <a:pt x="8357654" y="1876758"/>
                  <a:pt x="8421139" y="1849210"/>
                  <a:pt x="8353433" y="1865729"/>
                </a:cubicBezTo>
                <a:lnTo>
                  <a:pt x="8347675" y="1865075"/>
                </a:lnTo>
                <a:lnTo>
                  <a:pt x="8343939" y="1865677"/>
                </a:lnTo>
                <a:cubicBezTo>
                  <a:pt x="8309852" y="1870841"/>
                  <a:pt x="8272587" y="1875809"/>
                  <a:pt x="8221566" y="1881148"/>
                </a:cubicBezTo>
                <a:cubicBezTo>
                  <a:pt x="8158043" y="1892960"/>
                  <a:pt x="8095547" y="1914042"/>
                  <a:pt x="8066095" y="1919902"/>
                </a:cubicBezTo>
                <a:cubicBezTo>
                  <a:pt x="8058949" y="1919234"/>
                  <a:pt x="8051921" y="1917862"/>
                  <a:pt x="8044849" y="1916308"/>
                </a:cubicBezTo>
                <a:lnTo>
                  <a:pt x="8041142" y="1915506"/>
                </a:lnTo>
                <a:lnTo>
                  <a:pt x="8022159" y="1911521"/>
                </a:lnTo>
                <a:lnTo>
                  <a:pt x="7944932" y="1917265"/>
                </a:lnTo>
                <a:lnTo>
                  <a:pt x="7879011" y="1928570"/>
                </a:lnTo>
                <a:lnTo>
                  <a:pt x="7865529" y="1934399"/>
                </a:lnTo>
                <a:lnTo>
                  <a:pt x="7774801" y="1947969"/>
                </a:lnTo>
                <a:lnTo>
                  <a:pt x="7748398" y="1955982"/>
                </a:lnTo>
                <a:lnTo>
                  <a:pt x="7740684" y="1955717"/>
                </a:lnTo>
                <a:cubicBezTo>
                  <a:pt x="7728362" y="1958584"/>
                  <a:pt x="7714099" y="1968442"/>
                  <a:pt x="7712976" y="1960442"/>
                </a:cubicBezTo>
                <a:lnTo>
                  <a:pt x="7699956" y="1966104"/>
                </a:lnTo>
                <a:lnTo>
                  <a:pt x="7684158" y="1962927"/>
                </a:lnTo>
                <a:cubicBezTo>
                  <a:pt x="7674684" y="1962643"/>
                  <a:pt x="7652105" y="1963177"/>
                  <a:pt x="7643109" y="1964400"/>
                </a:cubicBezTo>
                <a:lnTo>
                  <a:pt x="7630180" y="1970266"/>
                </a:lnTo>
                <a:lnTo>
                  <a:pt x="7609131" y="1971774"/>
                </a:lnTo>
                <a:cubicBezTo>
                  <a:pt x="7596694" y="1971644"/>
                  <a:pt x="7570258" y="1969757"/>
                  <a:pt x="7555555" y="1969491"/>
                </a:cubicBezTo>
                <a:cubicBezTo>
                  <a:pt x="7541460" y="1966540"/>
                  <a:pt x="7530571" y="1964848"/>
                  <a:pt x="7520919" y="1970177"/>
                </a:cubicBezTo>
                <a:cubicBezTo>
                  <a:pt x="7500295" y="1966884"/>
                  <a:pt x="7480780" y="1949401"/>
                  <a:pt x="7456258" y="1960468"/>
                </a:cubicBezTo>
                <a:cubicBezTo>
                  <a:pt x="7434946" y="1957506"/>
                  <a:pt x="7435772" y="1952500"/>
                  <a:pt x="7393047" y="1952408"/>
                </a:cubicBezTo>
                <a:cubicBezTo>
                  <a:pt x="7356520" y="1952860"/>
                  <a:pt x="7236307" y="1958626"/>
                  <a:pt x="7199912" y="1959913"/>
                </a:cubicBezTo>
                <a:cubicBezTo>
                  <a:pt x="7176501" y="1959942"/>
                  <a:pt x="7160098" y="1958343"/>
                  <a:pt x="7146774" y="1956641"/>
                </a:cubicBezTo>
                <a:lnTo>
                  <a:pt x="7122244" y="1953891"/>
                </a:lnTo>
                <a:lnTo>
                  <a:pt x="7032241" y="1962723"/>
                </a:lnTo>
                <a:cubicBezTo>
                  <a:pt x="6997214" y="1965198"/>
                  <a:pt x="6963725" y="1968396"/>
                  <a:pt x="6941492" y="1976868"/>
                </a:cubicBezTo>
                <a:cubicBezTo>
                  <a:pt x="6947015" y="1970398"/>
                  <a:pt x="6923088" y="1965379"/>
                  <a:pt x="6906514" y="1968589"/>
                </a:cubicBezTo>
                <a:cubicBezTo>
                  <a:pt x="6925890" y="1943204"/>
                  <a:pt x="6840983" y="1991464"/>
                  <a:pt x="6826395" y="1974141"/>
                </a:cubicBezTo>
                <a:cubicBezTo>
                  <a:pt x="6825676" y="1990223"/>
                  <a:pt x="6751393" y="2017492"/>
                  <a:pt x="6716431" y="2004297"/>
                </a:cubicBezTo>
                <a:cubicBezTo>
                  <a:pt x="6663167" y="2007518"/>
                  <a:pt x="6625450" y="2020811"/>
                  <a:pt x="6569607" y="2015496"/>
                </a:cubicBezTo>
                <a:cubicBezTo>
                  <a:pt x="6567874" y="2017648"/>
                  <a:pt x="6565034" y="2019449"/>
                  <a:pt x="6561430" y="2020996"/>
                </a:cubicBezTo>
                <a:lnTo>
                  <a:pt x="6549371" y="2024747"/>
                </a:lnTo>
                <a:lnTo>
                  <a:pt x="6547040" y="2024474"/>
                </a:lnTo>
                <a:cubicBezTo>
                  <a:pt x="6537882" y="2024425"/>
                  <a:pt x="6533193" y="2025332"/>
                  <a:pt x="6530482" y="2026659"/>
                </a:cubicBezTo>
                <a:lnTo>
                  <a:pt x="6528565" y="2028600"/>
                </a:lnTo>
                <a:lnTo>
                  <a:pt x="6517741" y="2030558"/>
                </a:lnTo>
                <a:lnTo>
                  <a:pt x="6497855" y="2035650"/>
                </a:lnTo>
                <a:lnTo>
                  <a:pt x="6492785" y="2035444"/>
                </a:lnTo>
                <a:lnTo>
                  <a:pt x="6460692" y="2041321"/>
                </a:lnTo>
                <a:lnTo>
                  <a:pt x="6459609" y="2040851"/>
                </a:lnTo>
                <a:cubicBezTo>
                  <a:pt x="6456451" y="2039933"/>
                  <a:pt x="6452734" y="2039508"/>
                  <a:pt x="6447765" y="2040102"/>
                </a:cubicBezTo>
                <a:cubicBezTo>
                  <a:pt x="6446007" y="2031126"/>
                  <a:pt x="6441093" y="2037380"/>
                  <a:pt x="6426590" y="2039928"/>
                </a:cubicBezTo>
                <a:cubicBezTo>
                  <a:pt x="6423606" y="2033241"/>
                  <a:pt x="6413230" y="2032925"/>
                  <a:pt x="6401693" y="2033537"/>
                </a:cubicBezTo>
                <a:lnTo>
                  <a:pt x="6387141" y="2033161"/>
                </a:lnTo>
                <a:lnTo>
                  <a:pt x="6357846" y="2036782"/>
                </a:lnTo>
                <a:lnTo>
                  <a:pt x="6342914" y="2037585"/>
                </a:lnTo>
                <a:lnTo>
                  <a:pt x="6336300" y="2038781"/>
                </a:lnTo>
                <a:lnTo>
                  <a:pt x="6317178" y="2038968"/>
                </a:lnTo>
                <a:lnTo>
                  <a:pt x="6161427" y="2047338"/>
                </a:lnTo>
                <a:cubicBezTo>
                  <a:pt x="6147824" y="2057658"/>
                  <a:pt x="6118908" y="2077615"/>
                  <a:pt x="6097339" y="2082438"/>
                </a:cubicBezTo>
                <a:cubicBezTo>
                  <a:pt x="6090149" y="2084046"/>
                  <a:pt x="6083776" y="2083972"/>
                  <a:pt x="6079059" y="2081299"/>
                </a:cubicBezTo>
                <a:cubicBezTo>
                  <a:pt x="6063900" y="2082334"/>
                  <a:pt x="6011621" y="2084537"/>
                  <a:pt x="5998439" y="2070958"/>
                </a:cubicBezTo>
                <a:cubicBezTo>
                  <a:pt x="5976443" y="2071759"/>
                  <a:pt x="5925514" y="2069780"/>
                  <a:pt x="5904290" y="2070255"/>
                </a:cubicBezTo>
                <a:cubicBezTo>
                  <a:pt x="5871515" y="2066244"/>
                  <a:pt x="5843986" y="2088249"/>
                  <a:pt x="5814867" y="2079032"/>
                </a:cubicBezTo>
                <a:cubicBezTo>
                  <a:pt x="5792003" y="2070559"/>
                  <a:pt x="5750009" y="2076273"/>
                  <a:pt x="5725743" y="2070558"/>
                </a:cubicBezTo>
                <a:cubicBezTo>
                  <a:pt x="5716432" y="2058355"/>
                  <a:pt x="5667424" y="2047322"/>
                  <a:pt x="5650546" y="2052412"/>
                </a:cubicBezTo>
                <a:cubicBezTo>
                  <a:pt x="5614627" y="2046084"/>
                  <a:pt x="5608108" y="2028306"/>
                  <a:pt x="5581284" y="2023175"/>
                </a:cubicBezTo>
                <a:lnTo>
                  <a:pt x="5572593" y="2018391"/>
                </a:lnTo>
                <a:lnTo>
                  <a:pt x="5548580" y="2016951"/>
                </a:lnTo>
                <a:cubicBezTo>
                  <a:pt x="5523726" y="2017783"/>
                  <a:pt x="5498337" y="2019663"/>
                  <a:pt x="5471173" y="2018786"/>
                </a:cubicBezTo>
                <a:cubicBezTo>
                  <a:pt x="5447687" y="2003020"/>
                  <a:pt x="5353807" y="2022324"/>
                  <a:pt x="5340320" y="2037611"/>
                </a:cubicBezTo>
                <a:cubicBezTo>
                  <a:pt x="5340015" y="2024215"/>
                  <a:pt x="5271937" y="2042455"/>
                  <a:pt x="5254376" y="2042928"/>
                </a:cubicBezTo>
                <a:cubicBezTo>
                  <a:pt x="5248522" y="2043086"/>
                  <a:pt x="5248281" y="2041270"/>
                  <a:pt x="5258035" y="2035649"/>
                </a:cubicBezTo>
                <a:cubicBezTo>
                  <a:pt x="5239374" y="2037214"/>
                  <a:pt x="5220112" y="2030252"/>
                  <a:pt x="5230622" y="2024576"/>
                </a:cubicBezTo>
                <a:cubicBezTo>
                  <a:pt x="5173932" y="2036724"/>
                  <a:pt x="5090262" y="2024645"/>
                  <a:pt x="5026203" y="2030162"/>
                </a:cubicBezTo>
                <a:cubicBezTo>
                  <a:pt x="4991280" y="2016814"/>
                  <a:pt x="5010212" y="2029164"/>
                  <a:pt x="4973988" y="2026668"/>
                </a:cubicBezTo>
                <a:cubicBezTo>
                  <a:pt x="4983896" y="2038955"/>
                  <a:pt x="4930012" y="2019774"/>
                  <a:pt x="4928030" y="2033642"/>
                </a:cubicBezTo>
                <a:cubicBezTo>
                  <a:pt x="4921501" y="2032748"/>
                  <a:pt x="4915238" y="2031445"/>
                  <a:pt x="4908970" y="2030033"/>
                </a:cubicBezTo>
                <a:lnTo>
                  <a:pt x="4905679" y="2029300"/>
                </a:lnTo>
                <a:lnTo>
                  <a:pt x="4892525" y="2028768"/>
                </a:lnTo>
                <a:lnTo>
                  <a:pt x="4888818" y="2025619"/>
                </a:lnTo>
                <a:lnTo>
                  <a:pt x="4869018" y="2022668"/>
                </a:lnTo>
                <a:cubicBezTo>
                  <a:pt x="4861602" y="2022028"/>
                  <a:pt x="4853622" y="2021880"/>
                  <a:pt x="4844804" y="2022527"/>
                </a:cubicBezTo>
                <a:cubicBezTo>
                  <a:pt x="4823110" y="2028022"/>
                  <a:pt x="4789330" y="2021287"/>
                  <a:pt x="4758778" y="2021694"/>
                </a:cubicBezTo>
                <a:lnTo>
                  <a:pt x="4744748" y="2023396"/>
                </a:lnTo>
                <a:lnTo>
                  <a:pt x="4698956" y="2020558"/>
                </a:lnTo>
                <a:cubicBezTo>
                  <a:pt x="4685921" y="2020008"/>
                  <a:pt x="4672392" y="2019718"/>
                  <a:pt x="4658147" y="2019920"/>
                </a:cubicBezTo>
                <a:lnTo>
                  <a:pt x="4631706" y="2021274"/>
                </a:lnTo>
                <a:lnTo>
                  <a:pt x="4624776" y="2020152"/>
                </a:lnTo>
                <a:cubicBezTo>
                  <a:pt x="4612703" y="2020277"/>
                  <a:pt x="4596727" y="2024226"/>
                  <a:pt x="4598150" y="2019429"/>
                </a:cubicBezTo>
                <a:lnTo>
                  <a:pt x="4584588" y="2021092"/>
                </a:lnTo>
                <a:lnTo>
                  <a:pt x="4571203" y="2017263"/>
                </a:lnTo>
                <a:cubicBezTo>
                  <a:pt x="4569736" y="2016374"/>
                  <a:pt x="4568633" y="2015427"/>
                  <a:pt x="4567930" y="2014458"/>
                </a:cubicBezTo>
                <a:lnTo>
                  <a:pt x="4548984" y="2015717"/>
                </a:lnTo>
                <a:lnTo>
                  <a:pt x="4533451" y="2012976"/>
                </a:lnTo>
                <a:lnTo>
                  <a:pt x="4519910" y="2014768"/>
                </a:lnTo>
                <a:lnTo>
                  <a:pt x="4514290" y="2014364"/>
                </a:lnTo>
                <a:lnTo>
                  <a:pt x="4500320" y="2013007"/>
                </a:lnTo>
                <a:cubicBezTo>
                  <a:pt x="4493159" y="2012056"/>
                  <a:pt x="4485144" y="2010910"/>
                  <a:pt x="4476219" y="2009993"/>
                </a:cubicBezTo>
                <a:lnTo>
                  <a:pt x="4468701" y="2009574"/>
                </a:lnTo>
                <a:lnTo>
                  <a:pt x="4452333" y="2004964"/>
                </a:lnTo>
                <a:cubicBezTo>
                  <a:pt x="4440422" y="2001479"/>
                  <a:pt x="4431048" y="1999130"/>
                  <a:pt x="4420644" y="2001021"/>
                </a:cubicBezTo>
                <a:cubicBezTo>
                  <a:pt x="4402911" y="1996519"/>
                  <a:pt x="4390524" y="1983900"/>
                  <a:pt x="4364856" y="1987267"/>
                </a:cubicBezTo>
                <a:cubicBezTo>
                  <a:pt x="4372645" y="1981550"/>
                  <a:pt x="4336350" y="1986575"/>
                  <a:pt x="4332062" y="1980703"/>
                </a:cubicBezTo>
                <a:cubicBezTo>
                  <a:pt x="4330083" y="1975974"/>
                  <a:pt x="4318612" y="1976397"/>
                  <a:pt x="4309876" y="1974653"/>
                </a:cubicBezTo>
                <a:cubicBezTo>
                  <a:pt x="4303650" y="1969824"/>
                  <a:pt x="4259693" y="1965414"/>
                  <a:pt x="4244391" y="1966109"/>
                </a:cubicBezTo>
                <a:cubicBezTo>
                  <a:pt x="4201255" y="1970914"/>
                  <a:pt x="4166558" y="1951471"/>
                  <a:pt x="4132071" y="1954813"/>
                </a:cubicBezTo>
                <a:cubicBezTo>
                  <a:pt x="4123041" y="1954358"/>
                  <a:pt x="4115554" y="1953263"/>
                  <a:pt x="4109069" y="1951778"/>
                </a:cubicBezTo>
                <a:lnTo>
                  <a:pt x="4092908" y="1946662"/>
                </a:lnTo>
                <a:cubicBezTo>
                  <a:pt x="4092707" y="1945539"/>
                  <a:pt x="4092506" y="1944415"/>
                  <a:pt x="4092306" y="1943291"/>
                </a:cubicBezTo>
                <a:lnTo>
                  <a:pt x="4080234" y="1941219"/>
                </a:lnTo>
                <a:lnTo>
                  <a:pt x="4077778" y="1940145"/>
                </a:lnTo>
                <a:cubicBezTo>
                  <a:pt x="4073105" y="1938081"/>
                  <a:pt x="4068339" y="1936119"/>
                  <a:pt x="4062936" y="1934506"/>
                </a:cubicBezTo>
                <a:cubicBezTo>
                  <a:pt x="4048082" y="1947155"/>
                  <a:pt x="4014523" y="1922869"/>
                  <a:pt x="4012506" y="1935475"/>
                </a:cubicBezTo>
                <a:cubicBezTo>
                  <a:pt x="3980228" y="1928812"/>
                  <a:pt x="3986775" y="1942559"/>
                  <a:pt x="3965880" y="1925968"/>
                </a:cubicBezTo>
                <a:cubicBezTo>
                  <a:pt x="3899515" y="1923414"/>
                  <a:pt x="3830855" y="1902158"/>
                  <a:pt x="3765338" y="1906649"/>
                </a:cubicBezTo>
                <a:cubicBezTo>
                  <a:pt x="3780686" y="1902635"/>
                  <a:pt x="3768784" y="1893856"/>
                  <a:pt x="3749493" y="1893071"/>
                </a:cubicBezTo>
                <a:cubicBezTo>
                  <a:pt x="3807776" y="1876857"/>
                  <a:pt x="3656400" y="1898030"/>
                  <a:pt x="3672704" y="1881383"/>
                </a:cubicBezTo>
                <a:cubicBezTo>
                  <a:pt x="3645532" y="1893973"/>
                  <a:pt x="3537791" y="1900656"/>
                  <a:pt x="3530082" y="1883187"/>
                </a:cubicBezTo>
                <a:cubicBezTo>
                  <a:pt x="3479808" y="1875044"/>
                  <a:pt x="3426017" y="1877998"/>
                  <a:pt x="3387664" y="1862579"/>
                </a:cubicBezTo>
                <a:cubicBezTo>
                  <a:pt x="3382649" y="1863935"/>
                  <a:pt x="3377277" y="1864791"/>
                  <a:pt x="3371681" y="1865293"/>
                </a:cubicBezTo>
                <a:lnTo>
                  <a:pt x="3355305" y="1865842"/>
                </a:lnTo>
                <a:lnTo>
                  <a:pt x="3353790" y="1865158"/>
                </a:lnTo>
                <a:cubicBezTo>
                  <a:pt x="3346144" y="1863282"/>
                  <a:pt x="3340687" y="1863057"/>
                  <a:pt x="3336210" y="1863564"/>
                </a:cubicBezTo>
                <a:lnTo>
                  <a:pt x="3331381" y="1864716"/>
                </a:lnTo>
                <a:lnTo>
                  <a:pt x="3319012" y="1864093"/>
                </a:lnTo>
                <a:lnTo>
                  <a:pt x="3293818" y="1864135"/>
                </a:lnTo>
                <a:lnTo>
                  <a:pt x="3289881" y="1862954"/>
                </a:lnTo>
                <a:lnTo>
                  <a:pt x="3253090" y="1861164"/>
                </a:lnTo>
                <a:cubicBezTo>
                  <a:pt x="3253042" y="1860968"/>
                  <a:pt x="3252996" y="1860771"/>
                  <a:pt x="3252949" y="1860574"/>
                </a:cubicBezTo>
                <a:cubicBezTo>
                  <a:pt x="3251799" y="1859213"/>
                  <a:pt x="3249368" y="1858131"/>
                  <a:pt x="3244187" y="1857604"/>
                </a:cubicBezTo>
                <a:cubicBezTo>
                  <a:pt x="3250860" y="1853873"/>
                  <a:pt x="3250577" y="1852999"/>
                  <a:pt x="3246570" y="1852946"/>
                </a:cubicBezTo>
                <a:lnTo>
                  <a:pt x="3237810" y="1853064"/>
                </a:lnTo>
                <a:lnTo>
                  <a:pt x="3230822" y="1855474"/>
                </a:lnTo>
                <a:cubicBezTo>
                  <a:pt x="3206812" y="1862286"/>
                  <a:pt x="3176733" y="1868865"/>
                  <a:pt x="3136549" y="1874037"/>
                </a:cubicBezTo>
                <a:cubicBezTo>
                  <a:pt x="3081163" y="1880168"/>
                  <a:pt x="2902557" y="1900580"/>
                  <a:pt x="2845754" y="1910932"/>
                </a:cubicBezTo>
                <a:cubicBezTo>
                  <a:pt x="2860822" y="1944376"/>
                  <a:pt x="2813389" y="1905358"/>
                  <a:pt x="2786878" y="1917162"/>
                </a:cubicBezTo>
                <a:cubicBezTo>
                  <a:pt x="2766803" y="1917398"/>
                  <a:pt x="2741628" y="1915886"/>
                  <a:pt x="2725298" y="1912340"/>
                </a:cubicBezTo>
                <a:cubicBezTo>
                  <a:pt x="2716680" y="1911427"/>
                  <a:pt x="2707572" y="1911972"/>
                  <a:pt x="2697754" y="1914863"/>
                </a:cubicBezTo>
                <a:cubicBezTo>
                  <a:pt x="2667185" y="1939014"/>
                  <a:pt x="2622149" y="1926211"/>
                  <a:pt x="2568063" y="1936283"/>
                </a:cubicBezTo>
                <a:cubicBezTo>
                  <a:pt x="2552625" y="1932001"/>
                  <a:pt x="2502682" y="1953378"/>
                  <a:pt x="2489784" y="1943720"/>
                </a:cubicBezTo>
                <a:cubicBezTo>
                  <a:pt x="2478524" y="1943155"/>
                  <a:pt x="2467418" y="1949411"/>
                  <a:pt x="2458978" y="1938095"/>
                </a:cubicBezTo>
                <a:cubicBezTo>
                  <a:pt x="2417552" y="1934639"/>
                  <a:pt x="2366376" y="1931293"/>
                  <a:pt x="2318712" y="1934474"/>
                </a:cubicBezTo>
                <a:cubicBezTo>
                  <a:pt x="2296029" y="1936526"/>
                  <a:pt x="2282069" y="1938434"/>
                  <a:pt x="2268709" y="1940521"/>
                </a:cubicBezTo>
                <a:lnTo>
                  <a:pt x="2264080" y="1941232"/>
                </a:lnTo>
                <a:lnTo>
                  <a:pt x="2254684" y="1943524"/>
                </a:lnTo>
                <a:lnTo>
                  <a:pt x="2252523" y="1943004"/>
                </a:lnTo>
                <a:lnTo>
                  <a:pt x="2173350" y="1929202"/>
                </a:lnTo>
                <a:lnTo>
                  <a:pt x="2155266" y="1920267"/>
                </a:lnTo>
                <a:lnTo>
                  <a:pt x="2091013" y="1914631"/>
                </a:lnTo>
                <a:cubicBezTo>
                  <a:pt x="2033357" y="1920614"/>
                  <a:pt x="2070513" y="1905065"/>
                  <a:pt x="2030712" y="1897690"/>
                </a:cubicBezTo>
                <a:cubicBezTo>
                  <a:pt x="1994539" y="1893055"/>
                  <a:pt x="1958569" y="1883188"/>
                  <a:pt x="1908838" y="1892222"/>
                </a:cubicBezTo>
                <a:cubicBezTo>
                  <a:pt x="1897236" y="1896147"/>
                  <a:pt x="1883338" y="1892415"/>
                  <a:pt x="1877796" y="1883887"/>
                </a:cubicBezTo>
                <a:cubicBezTo>
                  <a:pt x="1876842" y="1882419"/>
                  <a:pt x="1876177" y="1880863"/>
                  <a:pt x="1875824" y="1879265"/>
                </a:cubicBezTo>
                <a:cubicBezTo>
                  <a:pt x="1843474" y="1887199"/>
                  <a:pt x="1841511" y="1873818"/>
                  <a:pt x="1823048" y="1881064"/>
                </a:cubicBezTo>
                <a:cubicBezTo>
                  <a:pt x="1792640" y="1872164"/>
                  <a:pt x="1782358" y="1850450"/>
                  <a:pt x="1765736" y="1856578"/>
                </a:cubicBezTo>
                <a:cubicBezTo>
                  <a:pt x="1753024" y="1849107"/>
                  <a:pt x="1745932" y="1828316"/>
                  <a:pt x="1725669" y="1833744"/>
                </a:cubicBezTo>
                <a:cubicBezTo>
                  <a:pt x="1727428" y="1831405"/>
                  <a:pt x="1726953" y="1830157"/>
                  <a:pt x="1725216" y="1829447"/>
                </a:cubicBezTo>
                <a:lnTo>
                  <a:pt x="1721485" y="1828960"/>
                </a:lnTo>
                <a:lnTo>
                  <a:pt x="1717786" y="1832224"/>
                </a:lnTo>
                <a:cubicBezTo>
                  <a:pt x="1703445" y="1843277"/>
                  <a:pt x="1706547" y="1827935"/>
                  <a:pt x="1689907" y="1825425"/>
                </a:cubicBezTo>
                <a:cubicBezTo>
                  <a:pt x="1682338" y="1823445"/>
                  <a:pt x="1685181" y="1820226"/>
                  <a:pt x="1688093" y="1817391"/>
                </a:cubicBezTo>
                <a:lnTo>
                  <a:pt x="1496789" y="1805297"/>
                </a:lnTo>
                <a:cubicBezTo>
                  <a:pt x="1463551" y="1793913"/>
                  <a:pt x="1426345" y="1786892"/>
                  <a:pt x="1392839" y="1758649"/>
                </a:cubicBezTo>
                <a:cubicBezTo>
                  <a:pt x="1386461" y="1750573"/>
                  <a:pt x="1374031" y="1756918"/>
                  <a:pt x="1360872" y="1752441"/>
                </a:cubicBezTo>
                <a:cubicBezTo>
                  <a:pt x="1347711" y="1747963"/>
                  <a:pt x="1332751" y="1735898"/>
                  <a:pt x="1313885" y="1731785"/>
                </a:cubicBezTo>
                <a:cubicBezTo>
                  <a:pt x="1281989" y="1726305"/>
                  <a:pt x="1256405" y="1739744"/>
                  <a:pt x="1247665" y="1727765"/>
                </a:cubicBezTo>
                <a:cubicBezTo>
                  <a:pt x="1231363" y="1728538"/>
                  <a:pt x="1209120" y="1742556"/>
                  <a:pt x="1196850" y="1729622"/>
                </a:cubicBezTo>
                <a:cubicBezTo>
                  <a:pt x="1195195" y="1740224"/>
                  <a:pt x="1178147" y="1721561"/>
                  <a:pt x="1168728" y="1728550"/>
                </a:cubicBezTo>
                <a:cubicBezTo>
                  <a:pt x="1152073" y="1727193"/>
                  <a:pt x="1122804" y="1725926"/>
                  <a:pt x="1096918" y="1721485"/>
                </a:cubicBezTo>
                <a:lnTo>
                  <a:pt x="1094082" y="1720113"/>
                </a:lnTo>
                <a:lnTo>
                  <a:pt x="1040782" y="1721762"/>
                </a:lnTo>
                <a:cubicBezTo>
                  <a:pt x="987172" y="1722352"/>
                  <a:pt x="1023272" y="1708707"/>
                  <a:pt x="955980" y="1719289"/>
                </a:cubicBezTo>
                <a:cubicBezTo>
                  <a:pt x="948995" y="1714208"/>
                  <a:pt x="940521" y="1713816"/>
                  <a:pt x="926108" y="1715917"/>
                </a:cubicBezTo>
                <a:cubicBezTo>
                  <a:pt x="900077" y="1715834"/>
                  <a:pt x="902688" y="1703436"/>
                  <a:pt x="876049" y="1710422"/>
                </a:cubicBezTo>
                <a:cubicBezTo>
                  <a:pt x="881084" y="1703830"/>
                  <a:pt x="826830" y="1706893"/>
                  <a:pt x="839194" y="1700176"/>
                </a:cubicBezTo>
                <a:cubicBezTo>
                  <a:pt x="822548" y="1693764"/>
                  <a:pt x="813674" y="1703628"/>
                  <a:pt x="797112" y="1698014"/>
                </a:cubicBezTo>
                <a:cubicBezTo>
                  <a:pt x="778195" y="1696418"/>
                  <a:pt x="807647" y="1705364"/>
                  <a:pt x="786610" y="1705455"/>
                </a:cubicBezTo>
                <a:cubicBezTo>
                  <a:pt x="761170" y="1704357"/>
                  <a:pt x="760599" y="1716610"/>
                  <a:pt x="741833" y="1700566"/>
                </a:cubicBezTo>
                <a:lnTo>
                  <a:pt x="673985" y="1692278"/>
                </a:lnTo>
                <a:cubicBezTo>
                  <a:pt x="658515" y="1695829"/>
                  <a:pt x="646395" y="1693620"/>
                  <a:pt x="634665" y="1689550"/>
                </a:cubicBezTo>
                <a:cubicBezTo>
                  <a:pt x="599149" y="1689690"/>
                  <a:pt x="567176" y="1683160"/>
                  <a:pt x="527471" y="1679869"/>
                </a:cubicBezTo>
                <a:cubicBezTo>
                  <a:pt x="484099" y="1683240"/>
                  <a:pt x="462693" y="1671949"/>
                  <a:pt x="420260" y="1668475"/>
                </a:cubicBezTo>
                <a:cubicBezTo>
                  <a:pt x="377482" y="1677390"/>
                  <a:pt x="393500" y="1652730"/>
                  <a:pt x="357630" y="1652142"/>
                </a:cubicBezTo>
                <a:cubicBezTo>
                  <a:pt x="298692" y="1659518"/>
                  <a:pt x="359631" y="1643849"/>
                  <a:pt x="269407" y="1643812"/>
                </a:cubicBezTo>
                <a:cubicBezTo>
                  <a:pt x="264204" y="1645215"/>
                  <a:pt x="253436" y="1643159"/>
                  <a:pt x="254769" y="1641013"/>
                </a:cubicBezTo>
                <a:cubicBezTo>
                  <a:pt x="234996" y="1641090"/>
                  <a:pt x="179093" y="1626583"/>
                  <a:pt x="150763" y="1628143"/>
                </a:cubicBezTo>
                <a:cubicBezTo>
                  <a:pt x="96232" y="1619954"/>
                  <a:pt x="68845" y="1629422"/>
                  <a:pt x="29133" y="1626172"/>
                </a:cubicBezTo>
                <a:lnTo>
                  <a:pt x="0" y="1619589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828675" y="494414"/>
            <a:ext cx="10534650" cy="8174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Mikroskoopit ovat välttämättömiä solututkimuksessa</a:t>
            </a:r>
            <a:endParaRPr lang="en-US" sz="3600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5" name="Taulukko 4">
            <a:extLst>
              <a:ext uri="{FF2B5EF4-FFF2-40B4-BE49-F238E27FC236}">
                <a16:creationId xmlns:a16="http://schemas.microsoft.com/office/drawing/2014/main" id="{959CFE47-A099-480D-A866-72F9B382E4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493439"/>
              </p:ext>
            </p:extLst>
          </p:nvPr>
        </p:nvGraphicFramePr>
        <p:xfrm>
          <a:off x="723900" y="2697791"/>
          <a:ext cx="10744201" cy="3260984"/>
        </p:xfrm>
        <a:graphic>
          <a:graphicData uri="http://schemas.openxmlformats.org/drawingml/2006/table">
            <a:tbl>
              <a:tblPr firstRow="1" bandRow="1">
                <a:noFill/>
                <a:tableStyleId>{8A107856-5554-42FB-B03E-39F5DBC370BA}</a:tableStyleId>
              </a:tblPr>
              <a:tblGrid>
                <a:gridCol w="2093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096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411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3682">
                <a:tc>
                  <a:txBody>
                    <a:bodyPr/>
                    <a:lstStyle/>
                    <a:p>
                      <a:endParaRPr lang="fi-FI" sz="1500" dirty="0">
                        <a:solidFill>
                          <a:schemeClr val="bg1"/>
                        </a:solidFill>
                      </a:endParaRPr>
                    </a:p>
                  </a:txBody>
                  <a:tcPr marL="75837" marR="75837" marT="37918" marB="37918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i-FI" sz="1500" dirty="0">
                          <a:solidFill>
                            <a:schemeClr val="bg1"/>
                          </a:solidFill>
                        </a:rPr>
                        <a:t>valomikroskooppi</a:t>
                      </a:r>
                    </a:p>
                  </a:txBody>
                  <a:tcPr marL="75837" marR="75837" marT="37918" marB="37918">
                    <a:solidFill>
                      <a:srgbClr val="F27CB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500" dirty="0">
                          <a:solidFill>
                            <a:schemeClr val="bg1"/>
                          </a:solidFill>
                        </a:rPr>
                        <a:t>elektronimikroskooppi</a:t>
                      </a:r>
                    </a:p>
                  </a:txBody>
                  <a:tcPr marL="75837" marR="75837" marT="37918" marB="37918">
                    <a:solidFill>
                      <a:srgbClr val="F27C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8703">
                <a:tc>
                  <a:txBody>
                    <a:bodyPr/>
                    <a:lstStyle/>
                    <a:p>
                      <a:r>
                        <a:rPr lang="fi-FI" sz="1500" dirty="0"/>
                        <a:t>kuvan muodostus</a:t>
                      </a:r>
                    </a:p>
                  </a:txBody>
                  <a:tcPr marL="75837" marR="75837" marT="37918" marB="37918">
                    <a:solidFill>
                      <a:srgbClr val="FACEE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500" dirty="0"/>
                        <a:t>perustuu valon taittumiseen lasilinsseissä, kuva muodostuu linssin polttopisteeseen</a:t>
                      </a:r>
                    </a:p>
                  </a:txBody>
                  <a:tcPr marL="75837" marR="75837" marT="37918" marB="37918">
                    <a:solidFill>
                      <a:srgbClr val="FACEE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500" dirty="0"/>
                        <a:t>perustuu elektronisuihkun muodostamiin kuviin fluorisoidulle levylle tai näyttöruudulle; suihkua ohjaillaan magneetti- kenttien avulla</a:t>
                      </a:r>
                    </a:p>
                  </a:txBody>
                  <a:tcPr marL="75837" marR="75837" marT="37918" marB="37918">
                    <a:solidFill>
                      <a:srgbClr val="FACE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1193">
                <a:tc>
                  <a:txBody>
                    <a:bodyPr/>
                    <a:lstStyle/>
                    <a:p>
                      <a:r>
                        <a:rPr lang="fi-FI" sz="1500" dirty="0"/>
                        <a:t>suurennos</a:t>
                      </a:r>
                    </a:p>
                  </a:txBody>
                  <a:tcPr marL="75837" marR="75837" marT="37918" marB="37918">
                    <a:solidFill>
                      <a:srgbClr val="F27CB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500" dirty="0"/>
                        <a:t>enintään 2000-kertainen (rajana valon aallonpituus)</a:t>
                      </a:r>
                    </a:p>
                  </a:txBody>
                  <a:tcPr marL="75837" marR="75837" marT="37918" marB="37918">
                    <a:solidFill>
                      <a:srgbClr val="F27CB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500" dirty="0"/>
                        <a:t>jopa 2 000 000-kertainen</a:t>
                      </a:r>
                    </a:p>
                  </a:txBody>
                  <a:tcPr marL="75837" marR="75837" marT="37918" marB="37918">
                    <a:solidFill>
                      <a:srgbClr val="F27C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16213">
                <a:tc>
                  <a:txBody>
                    <a:bodyPr/>
                    <a:lstStyle/>
                    <a:p>
                      <a:r>
                        <a:rPr lang="fi-FI" sz="1500" dirty="0"/>
                        <a:t>tutkimuskohteet</a:t>
                      </a:r>
                    </a:p>
                  </a:txBody>
                  <a:tcPr marL="75837" marR="75837" marT="37918" marB="37918">
                    <a:solidFill>
                      <a:srgbClr val="FACEE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500" dirty="0"/>
                        <a:t>tarpeeksi ohuet, valoa läpäisevät kudos- tai solukkonäytteet</a:t>
                      </a:r>
                    </a:p>
                  </a:txBody>
                  <a:tcPr marL="75837" marR="75837" marT="37918" marB="37918">
                    <a:solidFill>
                      <a:srgbClr val="FACEE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500" dirty="0"/>
                        <a:t>solujen sisäinen hienorakenne</a:t>
                      </a:r>
                      <a:br>
                        <a:rPr lang="fi-FI" sz="1500" dirty="0"/>
                      </a:br>
                      <a:r>
                        <a:rPr lang="fi-FI" sz="1500" dirty="0"/>
                        <a:t>(TEM =</a:t>
                      </a:r>
                      <a:r>
                        <a:rPr lang="fi-FI" sz="1500" baseline="0" dirty="0"/>
                        <a:t> </a:t>
                      </a:r>
                      <a:r>
                        <a:rPr lang="fi-FI" sz="1500" dirty="0"/>
                        <a:t>läpäisyelektronimikroskooppi)</a:t>
                      </a:r>
                      <a:br>
                        <a:rPr lang="fi-FI" sz="1500" dirty="0"/>
                      </a:br>
                      <a:r>
                        <a:rPr lang="fi-FI" sz="1500" dirty="0"/>
                        <a:t>solujen pintarakenne</a:t>
                      </a:r>
                      <a:br>
                        <a:rPr lang="fi-FI" sz="1500" dirty="0"/>
                      </a:br>
                      <a:r>
                        <a:rPr lang="fi-FI" sz="1500" dirty="0"/>
                        <a:t>(SEM = pyyhkäisyelektronimikroskooppi)</a:t>
                      </a:r>
                    </a:p>
                  </a:txBody>
                  <a:tcPr marL="75837" marR="75837" marT="37918" marB="37918">
                    <a:solidFill>
                      <a:srgbClr val="FACE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1193">
                <a:tc>
                  <a:txBody>
                    <a:bodyPr/>
                    <a:lstStyle/>
                    <a:p>
                      <a:r>
                        <a:rPr lang="fi-FI" sz="1500" dirty="0"/>
                        <a:t>ominaisuuksia</a:t>
                      </a:r>
                    </a:p>
                  </a:txBody>
                  <a:tcPr marL="75837" marR="75837" marT="37918" marB="37918">
                    <a:solidFill>
                      <a:srgbClr val="F27C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500" kern="1200" dirty="0">
                          <a:effectLst/>
                        </a:rPr>
                        <a:t>voidaan siirrellä̈ helposti ja tarkastella eläviäkin soluja </a:t>
                      </a:r>
                      <a:endParaRPr lang="fi-FI" sz="1500" dirty="0"/>
                    </a:p>
                  </a:txBody>
                  <a:tcPr marL="75837" marR="75837" marT="37918" marB="37918">
                    <a:solidFill>
                      <a:srgbClr val="F27C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500" kern="1200" dirty="0">
                          <a:effectLst/>
                        </a:rPr>
                        <a:t>painava, kiinteästi asennettu; digitaalista kuvaa voidaan muokata kuvankäsittelyohjelmilla </a:t>
                      </a:r>
                      <a:endParaRPr lang="fi-FI" sz="1500" dirty="0"/>
                    </a:p>
                  </a:txBody>
                  <a:tcPr marL="75837" marR="75837" marT="37918" marB="37918">
                    <a:solidFill>
                      <a:srgbClr val="F27C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60146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>
            <a:extLst>
              <a:ext uri="{FF2B5EF4-FFF2-40B4-BE49-F238E27FC236}">
                <a16:creationId xmlns:a16="http://schemas.microsoft.com/office/drawing/2014/main" id="{7BC89DCF-B44B-DC4E-E164-6895E97519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286" b="4445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257363FD-7E77-4145-9483-331A807AD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6802" cy="6858000"/>
          </a:xfrm>
          <a:prstGeom prst="rect">
            <a:avLst/>
          </a:prstGeom>
          <a:gradFill flip="none" rotWithShape="1">
            <a:gsLst>
              <a:gs pos="28000">
                <a:schemeClr val="bg2">
                  <a:alpha val="84000"/>
                </a:schemeClr>
              </a:gs>
              <a:gs pos="74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Vesi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ja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orgaaniset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yhdisteet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ovat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keskeisiä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solun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toiminnassa</a:t>
            </a:r>
            <a:endParaRPr lang="en-US" sz="3600" dirty="0">
              <a:latin typeface="Myriad Pro Semibold"/>
              <a:ea typeface="+mj-ea"/>
              <a:cs typeface="+mj-cs"/>
            </a:endParaRPr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81309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948409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224FBB3-9181-7BA2-6022-47C00AB31C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5414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57363FD-7E77-4145-9483-331A807AD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6802" cy="6858000"/>
          </a:xfrm>
          <a:prstGeom prst="rect">
            <a:avLst/>
          </a:prstGeom>
          <a:gradFill flip="none" rotWithShape="1">
            <a:gsLst>
              <a:gs pos="28000">
                <a:schemeClr val="bg2">
                  <a:alpha val="84000"/>
                </a:schemeClr>
              </a:gs>
              <a:gs pos="74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Orgaanisia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yhdisteitä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tarvitaan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soluissa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rakennusaineiksi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ja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energianlähteiksi</a:t>
            </a:r>
            <a:endParaRPr lang="en-US" sz="3600" dirty="0">
              <a:latin typeface="Myriad Pro Semibold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114721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3586956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i 23" hidden="1">
            <a:extLst>
              <a:ext uri="{FF2B5EF4-FFF2-40B4-BE49-F238E27FC236}">
                <a16:creationId xmlns:a16="http://schemas.microsoft.com/office/drawing/2014/main" id="{340F779C-1E35-47B4-8508-0F1448D531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4" name="Objekti 23" hidden="1">
                        <a:extLst>
                          <a:ext uri="{FF2B5EF4-FFF2-40B4-BE49-F238E27FC236}">
                            <a16:creationId xmlns:a16="http://schemas.microsoft.com/office/drawing/2014/main" id="{340F779C-1E35-47B4-8508-0F1448D531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Solututkimuksella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saavutettua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tietoa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voidaan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soveltaa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monin</a:t>
            </a:r>
            <a:r>
              <a:rPr lang="en-US" sz="3600" i="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dirty="0" err="1">
                <a:effectLst/>
                <a:latin typeface="Myriad Pro Semibold"/>
                <a:ea typeface="+mj-ea"/>
                <a:cs typeface="+mj-cs"/>
              </a:rPr>
              <a:t>tavoin</a:t>
            </a:r>
            <a:endParaRPr lang="en-US" sz="3600" dirty="0">
              <a:latin typeface="Myriad Pro Semibold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pSp>
        <p:nvGrpSpPr>
          <p:cNvPr id="15" name="Ryhmä 14">
            <a:extLst>
              <a:ext uri="{FF2B5EF4-FFF2-40B4-BE49-F238E27FC236}">
                <a16:creationId xmlns:a16="http://schemas.microsoft.com/office/drawing/2014/main" id="{F9CBE80E-00D4-40B8-848F-C225F02BF411}"/>
              </a:ext>
            </a:extLst>
          </p:cNvPr>
          <p:cNvGrpSpPr/>
          <p:nvPr/>
        </p:nvGrpSpPr>
        <p:grpSpPr>
          <a:xfrm>
            <a:off x="880651" y="2532717"/>
            <a:ext cx="10515600" cy="4093597"/>
            <a:chOff x="838200" y="2532717"/>
            <a:chExt cx="10515600" cy="4093597"/>
          </a:xfrm>
        </p:grpSpPr>
        <p:sp>
          <p:nvSpPr>
            <p:cNvPr id="16" name="Suorakulmio: Pyöristetyt kulmat 15">
              <a:extLst>
                <a:ext uri="{FF2B5EF4-FFF2-40B4-BE49-F238E27FC236}">
                  <a16:creationId xmlns:a16="http://schemas.microsoft.com/office/drawing/2014/main" id="{F734967B-30AA-4246-BD50-38D955EFAAC6}"/>
                </a:ext>
              </a:extLst>
            </p:cNvPr>
            <p:cNvSpPr/>
            <p:nvPr/>
          </p:nvSpPr>
          <p:spPr>
            <a:xfrm>
              <a:off x="838200" y="2532717"/>
              <a:ext cx="10515600" cy="1305401"/>
            </a:xfrm>
            <a:prstGeom prst="roundRect">
              <a:avLst>
                <a:gd name="adj" fmla="val 10000"/>
              </a:avLst>
            </a:prstGeom>
            <a:solidFill>
              <a:srgbClr val="FACEE2"/>
            </a:solidFill>
          </p:spPr>
          <p:style>
            <a:lnRef idx="0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AB56FB16-789E-4B48-B342-F6529DB0A46F}"/>
                </a:ext>
              </a:extLst>
            </p:cNvPr>
            <p:cNvSpPr/>
            <p:nvPr/>
          </p:nvSpPr>
          <p:spPr>
            <a:xfrm>
              <a:off x="2345938" y="2532717"/>
              <a:ext cx="9007861" cy="1305401"/>
            </a:xfrm>
            <a:custGeom>
              <a:avLst/>
              <a:gdLst>
                <a:gd name="connsiteX0" fmla="*/ 0 w 9007861"/>
                <a:gd name="connsiteY0" fmla="*/ 0 h 1305401"/>
                <a:gd name="connsiteX1" fmla="*/ 9007861 w 9007861"/>
                <a:gd name="connsiteY1" fmla="*/ 0 h 1305401"/>
                <a:gd name="connsiteX2" fmla="*/ 9007861 w 9007861"/>
                <a:gd name="connsiteY2" fmla="*/ 1305401 h 1305401"/>
                <a:gd name="connsiteX3" fmla="*/ 0 w 9007861"/>
                <a:gd name="connsiteY3" fmla="*/ 1305401 h 1305401"/>
                <a:gd name="connsiteX4" fmla="*/ 0 w 9007861"/>
                <a:gd name="connsiteY4" fmla="*/ 0 h 1305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7861" h="1305401">
                  <a:moveTo>
                    <a:pt x="0" y="0"/>
                  </a:moveTo>
                  <a:lnTo>
                    <a:pt x="9007861" y="0"/>
                  </a:lnTo>
                  <a:lnTo>
                    <a:pt x="9007861" y="1305401"/>
                  </a:lnTo>
                  <a:lnTo>
                    <a:pt x="0" y="13054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8155" tIns="138155" rIns="138155" bIns="138155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i-FI" sz="2500" kern="1200" dirty="0"/>
                <a:t>Solujen rakenteen ja toiminnan ymmärtäminen auttaa ymmärtämään ilmiöitä yksilö- ja populaatiotasolla</a:t>
              </a:r>
              <a:endParaRPr lang="en-US" sz="2500" kern="1200" dirty="0"/>
            </a:p>
          </p:txBody>
        </p:sp>
        <p:sp>
          <p:nvSpPr>
            <p:cNvPr id="19" name="Suorakulmio: Pyöristetyt kulmat 18">
              <a:extLst>
                <a:ext uri="{FF2B5EF4-FFF2-40B4-BE49-F238E27FC236}">
                  <a16:creationId xmlns:a16="http://schemas.microsoft.com/office/drawing/2014/main" id="{93B360BC-CB72-4699-B115-345EB20C28AA}"/>
                </a:ext>
              </a:extLst>
            </p:cNvPr>
            <p:cNvSpPr/>
            <p:nvPr/>
          </p:nvSpPr>
          <p:spPr>
            <a:xfrm>
              <a:off x="838200" y="4164469"/>
              <a:ext cx="10515600" cy="1305401"/>
            </a:xfrm>
            <a:prstGeom prst="roundRect">
              <a:avLst>
                <a:gd name="adj" fmla="val 10000"/>
              </a:avLst>
            </a:prstGeom>
            <a:solidFill>
              <a:srgbClr val="FDE9F2"/>
            </a:solidFill>
          </p:spPr>
          <p:style>
            <a:lnRef idx="0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Suorakulmio 19" descr="Rotta">
              <a:extLst>
                <a:ext uri="{FF2B5EF4-FFF2-40B4-BE49-F238E27FC236}">
                  <a16:creationId xmlns:a16="http://schemas.microsoft.com/office/drawing/2014/main" id="{B0361419-AD48-4481-8C62-F9CB6ED9DE9C}"/>
                </a:ext>
              </a:extLst>
            </p:cNvPr>
            <p:cNvSpPr/>
            <p:nvPr/>
          </p:nvSpPr>
          <p:spPr>
            <a:xfrm>
              <a:off x="1233084" y="2826432"/>
              <a:ext cx="717970" cy="717970"/>
            </a:xfrm>
            <a:prstGeom prst="rect">
              <a:avLst/>
            </a:pr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Vapaamuotoinen: Muoto 20">
              <a:extLst>
                <a:ext uri="{FF2B5EF4-FFF2-40B4-BE49-F238E27FC236}">
                  <a16:creationId xmlns:a16="http://schemas.microsoft.com/office/drawing/2014/main" id="{6E1DC7A1-9566-4DD8-8CE4-9DAE66688A6C}"/>
                </a:ext>
              </a:extLst>
            </p:cNvPr>
            <p:cNvSpPr/>
            <p:nvPr/>
          </p:nvSpPr>
          <p:spPr>
            <a:xfrm>
              <a:off x="2345938" y="4164469"/>
              <a:ext cx="4732020" cy="1305401"/>
            </a:xfrm>
            <a:custGeom>
              <a:avLst/>
              <a:gdLst>
                <a:gd name="connsiteX0" fmla="*/ 0 w 4732020"/>
                <a:gd name="connsiteY0" fmla="*/ 0 h 1305401"/>
                <a:gd name="connsiteX1" fmla="*/ 4732020 w 4732020"/>
                <a:gd name="connsiteY1" fmla="*/ 0 h 1305401"/>
                <a:gd name="connsiteX2" fmla="*/ 4732020 w 4732020"/>
                <a:gd name="connsiteY2" fmla="*/ 1305401 h 1305401"/>
                <a:gd name="connsiteX3" fmla="*/ 0 w 4732020"/>
                <a:gd name="connsiteY3" fmla="*/ 1305401 h 1305401"/>
                <a:gd name="connsiteX4" fmla="*/ 0 w 4732020"/>
                <a:gd name="connsiteY4" fmla="*/ 0 h 1305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2020" h="1305401">
                  <a:moveTo>
                    <a:pt x="0" y="0"/>
                  </a:moveTo>
                  <a:lnTo>
                    <a:pt x="4732020" y="0"/>
                  </a:lnTo>
                  <a:lnTo>
                    <a:pt x="4732020" y="1305401"/>
                  </a:lnTo>
                  <a:lnTo>
                    <a:pt x="0" y="13054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8155" tIns="138155" rIns="138155" bIns="138155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i-FI" sz="2500" kern="1200"/>
                <a:t>Soluja tutkitaan</a:t>
              </a:r>
              <a:endParaRPr lang="en-US" sz="2500" kern="120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3D2C3D0A-7C34-40DD-851C-0DC3E80D9246}"/>
                </a:ext>
              </a:extLst>
            </p:cNvPr>
            <p:cNvSpPr/>
            <p:nvPr/>
          </p:nvSpPr>
          <p:spPr>
            <a:xfrm>
              <a:off x="2345938" y="5320913"/>
              <a:ext cx="4630720" cy="1305401"/>
            </a:xfrm>
            <a:custGeom>
              <a:avLst/>
              <a:gdLst>
                <a:gd name="connsiteX0" fmla="*/ 0 w 4275841"/>
                <a:gd name="connsiteY0" fmla="*/ 0 h 1305401"/>
                <a:gd name="connsiteX1" fmla="*/ 4275841 w 4275841"/>
                <a:gd name="connsiteY1" fmla="*/ 0 h 1305401"/>
                <a:gd name="connsiteX2" fmla="*/ 4275841 w 4275841"/>
                <a:gd name="connsiteY2" fmla="*/ 1305401 h 1305401"/>
                <a:gd name="connsiteX3" fmla="*/ 0 w 4275841"/>
                <a:gd name="connsiteY3" fmla="*/ 1305401 h 1305401"/>
                <a:gd name="connsiteX4" fmla="*/ 0 w 4275841"/>
                <a:gd name="connsiteY4" fmla="*/ 0 h 1305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5841" h="1305401">
                  <a:moveTo>
                    <a:pt x="0" y="0"/>
                  </a:moveTo>
                  <a:lnTo>
                    <a:pt x="4275841" y="0"/>
                  </a:lnTo>
                  <a:lnTo>
                    <a:pt x="4275841" y="1305401"/>
                  </a:lnTo>
                  <a:lnTo>
                    <a:pt x="0" y="13054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8155" tIns="138155" rIns="138155" bIns="138155" numCol="1" spcCol="1270" anchor="ctr" anchorCtr="0">
              <a:noAutofit/>
            </a:bodyPr>
            <a:lstStyle/>
            <a:p>
              <a:pPr marL="285750" lvl="0" indent="-285750" algn="l" defTabSz="7556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i-FI" sz="1700" kern="1200" dirty="0"/>
                <a:t>eliön toimivana osana (in </a:t>
              </a:r>
              <a:r>
                <a:rPr lang="fi-FI" sz="1700" kern="1200" dirty="0" err="1"/>
                <a:t>vivo</a:t>
              </a:r>
              <a:r>
                <a:rPr lang="fi-FI" sz="1700" kern="1200" dirty="0"/>
                <a:t>)</a:t>
              </a:r>
              <a:endParaRPr lang="fi-FI" sz="1700" kern="1200" dirty="0">
                <a:cs typeface="Calibri"/>
              </a:endParaRPr>
            </a:p>
            <a:p>
              <a:pPr marL="285750" lvl="0" indent="-285750" algn="l" defTabSz="7556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i-FI" sz="1700" kern="1200" dirty="0"/>
                <a:t>eliöistä irrallaan, esim. koeputkessa (in </a:t>
              </a:r>
              <a:r>
                <a:rPr lang="fi-FI" sz="1700" kern="1200" dirty="0" err="1"/>
                <a:t>vitro</a:t>
              </a:r>
              <a:r>
                <a:rPr lang="fi-FI" sz="1700" kern="1200" dirty="0"/>
                <a:t>)</a:t>
              </a:r>
              <a:endParaRPr lang="fi-FI" sz="1700" kern="1200" dirty="0">
                <a:cs typeface="Calibri"/>
              </a:endParaRPr>
            </a:p>
            <a:p>
              <a:pPr marL="285750" lvl="0" indent="-285750" algn="l" defTabSz="7556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i-FI" sz="1700" kern="1200" dirty="0"/>
                <a:t>tietojärjestelmissä (in </a:t>
              </a:r>
              <a:r>
                <a:rPr lang="fi-FI" sz="1700" kern="1200" dirty="0" err="1"/>
                <a:t>silico</a:t>
              </a:r>
              <a:r>
                <a:rPr lang="fi-FI" sz="1700" kern="1200" dirty="0"/>
                <a:t>)</a:t>
              </a:r>
              <a:endParaRPr lang="fi-FI" sz="1700" kern="1200" dirty="0">
                <a:cs typeface="Calibri"/>
              </a:endParaRPr>
            </a:p>
          </p:txBody>
        </p:sp>
      </p:grpSp>
      <p:sp>
        <p:nvSpPr>
          <p:cNvPr id="26" name="Suorakulmio 25" descr="Mikroskooppi">
            <a:extLst>
              <a:ext uri="{FF2B5EF4-FFF2-40B4-BE49-F238E27FC236}">
                <a16:creationId xmlns:a16="http://schemas.microsoft.com/office/drawing/2014/main" id="{C84048A5-F9C2-4747-AF05-7D81EDBB14DD}"/>
              </a:ext>
            </a:extLst>
          </p:cNvPr>
          <p:cNvSpPr/>
          <p:nvPr/>
        </p:nvSpPr>
        <p:spPr>
          <a:xfrm>
            <a:off x="1191350" y="4458184"/>
            <a:ext cx="802155" cy="717970"/>
          </a:xfrm>
          <a:prstGeom prst="rect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026148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3" name="Rectangle 72">
            <a:extLst>
              <a:ext uri="{FF2B5EF4-FFF2-40B4-BE49-F238E27FC236}">
                <a16:creationId xmlns:a16="http://schemas.microsoft.com/office/drawing/2014/main" id="{3C54F4CE-85F0-46ED-80DA-9518C9251A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DADD1FCA-8ACB-4958-81DD-4CDD6D3E1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773408" y="992094"/>
            <a:ext cx="3616913" cy="27951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Solubiologiaan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liittyvät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Nobel-</a:t>
            </a:r>
            <a:r>
              <a:rPr lang="en-US" sz="4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palkinnot</a:t>
            </a:r>
            <a:endParaRPr lang="en-US" sz="44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Kuva 4" descr="Kuva, joka sisältää kohteen pöytä&#10;&#10;Kuvaus luotu automaattisesti">
            <a:extLst>
              <a:ext uri="{FF2B5EF4-FFF2-40B4-BE49-F238E27FC236}">
                <a16:creationId xmlns:a16="http://schemas.microsoft.com/office/drawing/2014/main" id="{7FE8D52A-D04E-410A-AA73-2712864DFA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9410" y="578738"/>
            <a:ext cx="3161330" cy="5670549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864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Props1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F23C7F9-EAEB-49A2-A0B7-035D1E4E038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b074eca8-5fb2-43da-8e1c-14493b353147"/>
    <ds:schemaRef ds:uri="http://schemas.openxmlformats.org/package/2006/metadata/core-properties"/>
    <ds:schemaRef ds:uri="10f150c9-2741-4e22-b721-4e123a12c6bb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653</TotalTime>
  <Words>356</Words>
  <Application>Microsoft Office PowerPoint</Application>
  <PresentationFormat>Laajakuva</PresentationFormat>
  <Paragraphs>58</Paragraphs>
  <Slides>10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Myriad Pro Semibold</vt:lpstr>
      <vt:lpstr>Wingdings</vt:lpstr>
      <vt:lpstr>Office-teema</vt:lpstr>
      <vt:lpstr>think-cell Slide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Tiivistelm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Helena Laasjärvi</cp:lastModifiedBy>
  <cp:revision>116</cp:revision>
  <dcterms:created xsi:type="dcterms:W3CDTF">2017-07-04T08:37:15Z</dcterms:created>
  <dcterms:modified xsi:type="dcterms:W3CDTF">2022-03-21T15:5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